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856" r:id="rId2"/>
    <p:sldMasterId id="2147483870" r:id="rId3"/>
  </p:sldMasterIdLst>
  <p:notesMasterIdLst>
    <p:notesMasterId r:id="rId19"/>
  </p:notesMasterIdLst>
  <p:sldIdLst>
    <p:sldId id="260" r:id="rId4"/>
    <p:sldId id="303" r:id="rId5"/>
    <p:sldId id="399" r:id="rId6"/>
    <p:sldId id="408" r:id="rId7"/>
    <p:sldId id="401" r:id="rId8"/>
    <p:sldId id="309" r:id="rId9"/>
    <p:sldId id="382" r:id="rId10"/>
    <p:sldId id="268" r:id="rId11"/>
    <p:sldId id="402" r:id="rId12"/>
    <p:sldId id="405" r:id="rId13"/>
    <p:sldId id="407" r:id="rId14"/>
    <p:sldId id="404" r:id="rId15"/>
    <p:sldId id="403" r:id="rId16"/>
    <p:sldId id="409" r:id="rId17"/>
    <p:sldId id="297" r:id="rId18"/>
  </p:sldIdLst>
  <p:sldSz cx="12192000" cy="6858000"/>
  <p:notesSz cx="6761163" cy="9942513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1" userDrawn="1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323" userDrawn="1">
          <p15:clr>
            <a:srgbClr val="A4A3A4"/>
          </p15:clr>
        </p15:guide>
        <p15:guide id="4" orient="horz" pos="2183" userDrawn="1">
          <p15:clr>
            <a:srgbClr val="A4A3A4"/>
          </p15:clr>
        </p15:guide>
        <p15:guide id="5" pos="279" userDrawn="1">
          <p15:clr>
            <a:srgbClr val="A4A3A4"/>
          </p15:clr>
        </p15:guide>
        <p15:guide id="6" pos="9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4388"/>
    <a:srgbClr val="295E7E"/>
    <a:srgbClr val="ACABD1"/>
    <a:srgbClr val="9796C6"/>
    <a:srgbClr val="629DD1"/>
    <a:srgbClr val="B364C8"/>
    <a:srgbClr val="445171"/>
    <a:srgbClr val="7799B2"/>
    <a:srgbClr val="DEEBF7"/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40" autoAdjust="0"/>
    <p:restoredTop sz="94660"/>
  </p:normalViewPr>
  <p:slideViewPr>
    <p:cSldViewPr snapToGrid="0" showGuides="1">
      <p:cViewPr varScale="1">
        <p:scale>
          <a:sx n="78" d="100"/>
          <a:sy n="78" d="100"/>
        </p:scale>
        <p:origin x="876" y="84"/>
      </p:cViewPr>
      <p:guideLst>
        <p:guide orient="horz" pos="391"/>
        <p:guide pos="3840"/>
        <p:guide orient="horz" pos="323"/>
        <p:guide orient="horz" pos="2183"/>
        <p:guide pos="279"/>
        <p:guide pos="9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78012EB-3067-42C7-808D-FCCDBFCA5F5E}" type="doc">
      <dgm:prSet loTypeId="urn:microsoft.com/office/officeart/2005/8/layout/vProcess5" loCatId="process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RU"/>
        </a:p>
      </dgm:t>
    </dgm:pt>
    <dgm:pt modelId="{A49451A9-3917-40F6-A40C-EE0D1417B8C3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r>
            <a:rPr lang="ru-RU" sz="12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ОТРАСЛЬ</a:t>
          </a:r>
        </a:p>
      </dgm:t>
    </dgm:pt>
    <dgm:pt modelId="{A24E01C6-2A44-4629-B622-7E9E8CA0BFF4}" type="parTrans" cxnId="{46F38BEF-DA25-46F2-85F5-E472E02724C0}">
      <dgm:prSet/>
      <dgm:spPr/>
      <dgm:t>
        <a:bodyPr/>
        <a:lstStyle/>
        <a:p>
          <a:endParaRPr lang="ru-RU" sz="1100" b="1">
            <a:solidFill>
              <a:schemeClr val="accent5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60E8D2C-06F7-4215-87AC-241494787B95}" type="sibTrans" cxnId="{46F38BEF-DA25-46F2-85F5-E472E02724C0}">
      <dgm:prSet custT="1"/>
      <dgm:spPr>
        <a:ln>
          <a:solidFill>
            <a:srgbClr val="002060">
              <a:alpha val="90000"/>
            </a:srgbClr>
          </a:solidFill>
        </a:ln>
      </dgm:spPr>
      <dgm:t>
        <a:bodyPr/>
        <a:lstStyle/>
        <a:p>
          <a:endParaRPr lang="ru-RU" sz="1100" b="1" dirty="0">
            <a:solidFill>
              <a:schemeClr val="accent5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824FA1E-153E-4FC6-98B4-FD4928595D97}">
      <dgm:prSet phldrT="[Текст]" custT="1"/>
      <dgm:spPr>
        <a:ln>
          <a:solidFill>
            <a:srgbClr val="002060">
              <a:alpha val="90000"/>
            </a:srgbClr>
          </a:solidFill>
        </a:ln>
      </dgm:spPr>
      <dgm:t>
        <a:bodyPr/>
        <a:lstStyle/>
        <a:p>
          <a:r>
            <a:rPr lang="ru-RU" sz="12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СИЗ</a:t>
          </a:r>
          <a:r>
            <a:rPr lang="ru-RU" sz="14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</a:p>
      </dgm:t>
    </dgm:pt>
    <dgm:pt modelId="{B06FD861-382B-4F1D-B52F-DE88CD3E811C}" type="parTrans" cxnId="{37957AD6-DDD7-4A62-A4B0-4E906B7AA447}">
      <dgm:prSet/>
      <dgm:spPr/>
      <dgm:t>
        <a:bodyPr/>
        <a:lstStyle/>
        <a:p>
          <a:endParaRPr lang="ru-RU" sz="1100" b="1">
            <a:solidFill>
              <a:schemeClr val="accent5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1EB94BB-4A26-4DFF-8448-64F5F04715E8}" type="sibTrans" cxnId="{37957AD6-DDD7-4A62-A4B0-4E906B7AA447}">
      <dgm:prSet custT="1"/>
      <dgm:spPr>
        <a:ln>
          <a:solidFill>
            <a:srgbClr val="002060">
              <a:alpha val="90000"/>
            </a:srgbClr>
          </a:solidFill>
        </a:ln>
      </dgm:spPr>
      <dgm:t>
        <a:bodyPr/>
        <a:lstStyle/>
        <a:p>
          <a:endParaRPr lang="ru-RU" sz="1100" b="1" dirty="0">
            <a:solidFill>
              <a:schemeClr val="accent5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4140575-7920-451B-8F93-A38B6FD525E9}">
      <dgm:prSet phldrT="[Текст]" custT="1"/>
      <dgm:spPr>
        <a:ln>
          <a:solidFill>
            <a:srgbClr val="002060">
              <a:alpha val="90000"/>
            </a:srgbClr>
          </a:solidFill>
        </a:ln>
      </dgm:spPr>
      <dgm:t>
        <a:bodyPr/>
        <a:lstStyle/>
        <a:p>
          <a:r>
            <a:rPr lang="ru-RU" sz="10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ПРОФЕССИЯ</a:t>
          </a:r>
        </a:p>
      </dgm:t>
    </dgm:pt>
    <dgm:pt modelId="{7AB69E44-1CC3-4066-B5BF-E1CCEA09B26D}" type="parTrans" cxnId="{F51BED48-F88B-442C-AEB0-926D92AC9050}">
      <dgm:prSet/>
      <dgm:spPr/>
      <dgm:t>
        <a:bodyPr/>
        <a:lstStyle/>
        <a:p>
          <a:endParaRPr lang="ru-RU" sz="2400" b="1">
            <a:solidFill>
              <a:schemeClr val="accent5">
                <a:lumMod val="50000"/>
              </a:schemeClr>
            </a:solidFill>
          </a:endParaRPr>
        </a:p>
      </dgm:t>
    </dgm:pt>
    <dgm:pt modelId="{941DC890-E816-40C7-BFFF-0C1C92611138}" type="sibTrans" cxnId="{F51BED48-F88B-442C-AEB0-926D92AC9050}">
      <dgm:prSet custT="1"/>
      <dgm:spPr>
        <a:ln>
          <a:solidFill>
            <a:srgbClr val="002060">
              <a:alpha val="90000"/>
            </a:srgbClr>
          </a:solidFill>
        </a:ln>
      </dgm:spPr>
      <dgm:t>
        <a:bodyPr/>
        <a:lstStyle/>
        <a:p>
          <a:endParaRPr lang="ru-RU" sz="2400" b="1">
            <a:solidFill>
              <a:schemeClr val="accent5">
                <a:lumMod val="50000"/>
              </a:schemeClr>
            </a:solidFill>
          </a:endParaRPr>
        </a:p>
      </dgm:t>
    </dgm:pt>
    <dgm:pt modelId="{1547B310-FA58-41D1-81A2-5408A7D1E7B8}">
      <dgm:prSet phldrT="[Текст]" custT="1"/>
      <dgm:spPr>
        <a:ln>
          <a:solidFill>
            <a:srgbClr val="002060">
              <a:alpha val="90000"/>
            </a:srgbClr>
          </a:solidFill>
        </a:ln>
      </dgm:spPr>
      <dgm:t>
        <a:bodyPr/>
        <a:lstStyle/>
        <a:p>
          <a:r>
            <a:rPr lang="ru-RU" sz="11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НОРМА</a:t>
          </a:r>
          <a:r>
            <a:rPr lang="ru-RU" sz="11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И СРОК </a:t>
          </a:r>
        </a:p>
      </dgm:t>
    </dgm:pt>
    <dgm:pt modelId="{39B22460-E334-47D6-9C12-8063821AC94E}" type="parTrans" cxnId="{9519A5D3-4473-4B48-9848-35E05DC9CC76}">
      <dgm:prSet/>
      <dgm:spPr/>
      <dgm:t>
        <a:bodyPr/>
        <a:lstStyle/>
        <a:p>
          <a:endParaRPr lang="ru-RU" sz="2400" b="1">
            <a:solidFill>
              <a:schemeClr val="accent5">
                <a:lumMod val="50000"/>
              </a:schemeClr>
            </a:solidFill>
          </a:endParaRPr>
        </a:p>
      </dgm:t>
    </dgm:pt>
    <dgm:pt modelId="{9E94E596-5436-40C5-86E0-C855DFC8F0FE}" type="sibTrans" cxnId="{9519A5D3-4473-4B48-9848-35E05DC9CC76}">
      <dgm:prSet/>
      <dgm:spPr/>
      <dgm:t>
        <a:bodyPr/>
        <a:lstStyle/>
        <a:p>
          <a:endParaRPr lang="ru-RU" sz="2400" b="1">
            <a:solidFill>
              <a:schemeClr val="accent5">
                <a:lumMod val="50000"/>
              </a:schemeClr>
            </a:solidFill>
          </a:endParaRPr>
        </a:p>
      </dgm:t>
    </dgm:pt>
    <dgm:pt modelId="{C5644116-A587-4F6A-B0FF-191A1363A22D}" type="pres">
      <dgm:prSet presAssocID="{C78012EB-3067-42C7-808D-FCCDBFCA5F5E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E5AB477-5D7C-447B-9020-DB91CC575479}" type="pres">
      <dgm:prSet presAssocID="{C78012EB-3067-42C7-808D-FCCDBFCA5F5E}" presName="dummyMaxCanvas" presStyleCnt="0">
        <dgm:presLayoutVars/>
      </dgm:prSet>
      <dgm:spPr/>
    </dgm:pt>
    <dgm:pt modelId="{71F1AEC7-D75C-4AF1-AEDA-0DE490F9831F}" type="pres">
      <dgm:prSet presAssocID="{C78012EB-3067-42C7-808D-FCCDBFCA5F5E}" presName="FourNodes_1" presStyleLbl="node1" presStyleIdx="0" presStyleCnt="4" custScaleX="78012" custLinFactNeighborX="-2903" custLinFactNeighborY="-228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9720FFC-2C16-4101-995E-44982E42F21D}" type="pres">
      <dgm:prSet presAssocID="{C78012EB-3067-42C7-808D-FCCDBFCA5F5E}" presName="FourNodes_2" presStyleLbl="node1" presStyleIdx="1" presStyleCnt="4" custScaleX="77587" custScaleY="91276" custLinFactNeighborX="-11494" custLinFactNeighborY="-367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6035E9-394F-49C2-BA79-1B54FF412F36}" type="pres">
      <dgm:prSet presAssocID="{C78012EB-3067-42C7-808D-FCCDBFCA5F5E}" presName="FourNodes_3" presStyleLbl="node1" presStyleIdx="2" presStyleCnt="4" custScaleX="78760" custLinFactNeighborX="-19445" custLinFactNeighborY="-65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B3E64BA-49C5-4D99-9307-3369393A43E0}" type="pres">
      <dgm:prSet presAssocID="{C78012EB-3067-42C7-808D-FCCDBFCA5F5E}" presName="FourNodes_4" presStyleLbl="node1" presStyleIdx="3" presStyleCnt="4" custScaleX="78047" custLinFactNeighborX="-29072" custLinFactNeighborY="-913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1B3314C-B657-44E2-B979-6DAE3A849E7D}" type="pres">
      <dgm:prSet presAssocID="{C78012EB-3067-42C7-808D-FCCDBFCA5F5E}" presName="FourConn_1-2" presStyleLbl="fgAccFollowNode1" presStyleIdx="0" presStyleCnt="3" custLinFactX="-192682" custLinFactNeighborX="-200000" custLinFactNeighborY="-186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0F5A76-750B-4579-A800-D273C407E351}" type="pres">
      <dgm:prSet presAssocID="{C78012EB-3067-42C7-808D-FCCDBFCA5F5E}" presName="FourConn_2-3" presStyleLbl="fgAccFollowNode1" presStyleIdx="1" presStyleCnt="3" custLinFactX="-162920" custLinFactNeighborX="-200000" custLinFactNeighborY="-269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1E1E3D8-BEB2-46B1-939E-0AF95497BDE4}" type="pres">
      <dgm:prSet presAssocID="{C78012EB-3067-42C7-808D-FCCDBFCA5F5E}" presName="FourConn_3-4" presStyleLbl="fgAccFollowNode1" presStyleIdx="2" presStyleCnt="3" custLinFactX="-164497" custLinFactNeighborX="-200000" custLinFactNeighborY="187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B87476E-57B0-4BA5-B931-7F96A1FB0B16}" type="pres">
      <dgm:prSet presAssocID="{C78012EB-3067-42C7-808D-FCCDBFCA5F5E}" presName="FourNodes_1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5ECB779-1225-4E1B-8488-D80DD40EE090}" type="pres">
      <dgm:prSet presAssocID="{C78012EB-3067-42C7-808D-FCCDBFCA5F5E}" presName="FourNodes_2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45FB2D6-0E5E-4DAE-A38A-30BCC529722A}" type="pres">
      <dgm:prSet presAssocID="{C78012EB-3067-42C7-808D-FCCDBFCA5F5E}" presName="FourNodes_3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B439CD3-838C-405D-B8F9-0AF45574503B}" type="pres">
      <dgm:prSet presAssocID="{C78012EB-3067-42C7-808D-FCCDBFCA5F5E}" presName="FourNodes_4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9F2DF33-DCF9-4830-AF91-50A30FE1E88B}" type="presOf" srcId="{0824FA1E-153E-4FC6-98B4-FD4928595D97}" destId="{F06035E9-394F-49C2-BA79-1B54FF412F36}" srcOrd="0" destOrd="0" presId="urn:microsoft.com/office/officeart/2005/8/layout/vProcess5"/>
    <dgm:cxn modelId="{FFC71C0E-8123-4293-A43F-19CA52D0F2C8}" type="presOf" srcId="{1547B310-FA58-41D1-81A2-5408A7D1E7B8}" destId="{BB439CD3-838C-405D-B8F9-0AF45574503B}" srcOrd="1" destOrd="0" presId="urn:microsoft.com/office/officeart/2005/8/layout/vProcess5"/>
    <dgm:cxn modelId="{AB8EEE22-2E0C-44C7-91E1-EAF2E3A14AC8}" type="presOf" srcId="{0824FA1E-153E-4FC6-98B4-FD4928595D97}" destId="{345FB2D6-0E5E-4DAE-A38A-30BCC529722A}" srcOrd="1" destOrd="0" presId="urn:microsoft.com/office/officeart/2005/8/layout/vProcess5"/>
    <dgm:cxn modelId="{478C1105-5C8B-4183-A5B6-21C92453FB80}" type="presOf" srcId="{71EB94BB-4A26-4DFF-8448-64F5F04715E8}" destId="{A1E1E3D8-BEB2-46B1-939E-0AF95497BDE4}" srcOrd="0" destOrd="0" presId="urn:microsoft.com/office/officeart/2005/8/layout/vProcess5"/>
    <dgm:cxn modelId="{8938BADB-2AAB-4A5F-ADE7-2BEE94279859}" type="presOf" srcId="{14140575-7920-451B-8F93-A38B6FD525E9}" destId="{95ECB779-1225-4E1B-8488-D80DD40EE090}" srcOrd="1" destOrd="0" presId="urn:microsoft.com/office/officeart/2005/8/layout/vProcess5"/>
    <dgm:cxn modelId="{FF6F0F65-7AD8-4EE7-900D-1AFB782660DB}" type="presOf" srcId="{941DC890-E816-40C7-BFFF-0C1C92611138}" destId="{EB0F5A76-750B-4579-A800-D273C407E351}" srcOrd="0" destOrd="0" presId="urn:microsoft.com/office/officeart/2005/8/layout/vProcess5"/>
    <dgm:cxn modelId="{F51BED48-F88B-442C-AEB0-926D92AC9050}" srcId="{C78012EB-3067-42C7-808D-FCCDBFCA5F5E}" destId="{14140575-7920-451B-8F93-A38B6FD525E9}" srcOrd="1" destOrd="0" parTransId="{7AB69E44-1CC3-4066-B5BF-E1CCEA09B26D}" sibTransId="{941DC890-E816-40C7-BFFF-0C1C92611138}"/>
    <dgm:cxn modelId="{317A9A19-4ECE-4664-B6ED-FAD3EBB70A77}" type="presOf" srcId="{A49451A9-3917-40F6-A40C-EE0D1417B8C3}" destId="{6B87476E-57B0-4BA5-B931-7F96A1FB0B16}" srcOrd="1" destOrd="0" presId="urn:microsoft.com/office/officeart/2005/8/layout/vProcess5"/>
    <dgm:cxn modelId="{39D1A6C3-21B9-4934-A383-6CE1F9DBD28A}" type="presOf" srcId="{A49451A9-3917-40F6-A40C-EE0D1417B8C3}" destId="{71F1AEC7-D75C-4AF1-AEDA-0DE490F9831F}" srcOrd="0" destOrd="0" presId="urn:microsoft.com/office/officeart/2005/8/layout/vProcess5"/>
    <dgm:cxn modelId="{46F38BEF-DA25-46F2-85F5-E472E02724C0}" srcId="{C78012EB-3067-42C7-808D-FCCDBFCA5F5E}" destId="{A49451A9-3917-40F6-A40C-EE0D1417B8C3}" srcOrd="0" destOrd="0" parTransId="{A24E01C6-2A44-4629-B622-7E9E8CA0BFF4}" sibTransId="{960E8D2C-06F7-4215-87AC-241494787B95}"/>
    <dgm:cxn modelId="{9CF5F53A-09C5-49AF-AB52-5A256220BA79}" type="presOf" srcId="{14140575-7920-451B-8F93-A38B6FD525E9}" destId="{59720FFC-2C16-4101-995E-44982E42F21D}" srcOrd="0" destOrd="0" presId="urn:microsoft.com/office/officeart/2005/8/layout/vProcess5"/>
    <dgm:cxn modelId="{0AB8E587-FE58-4C4E-90B7-615485F105D2}" type="presOf" srcId="{C78012EB-3067-42C7-808D-FCCDBFCA5F5E}" destId="{C5644116-A587-4F6A-B0FF-191A1363A22D}" srcOrd="0" destOrd="0" presId="urn:microsoft.com/office/officeart/2005/8/layout/vProcess5"/>
    <dgm:cxn modelId="{9519A5D3-4473-4B48-9848-35E05DC9CC76}" srcId="{C78012EB-3067-42C7-808D-FCCDBFCA5F5E}" destId="{1547B310-FA58-41D1-81A2-5408A7D1E7B8}" srcOrd="3" destOrd="0" parTransId="{39B22460-E334-47D6-9C12-8063821AC94E}" sibTransId="{9E94E596-5436-40C5-86E0-C855DFC8F0FE}"/>
    <dgm:cxn modelId="{E30F9950-CEC2-43FF-8B74-22AA8BF60951}" type="presOf" srcId="{1547B310-FA58-41D1-81A2-5408A7D1E7B8}" destId="{0B3E64BA-49C5-4D99-9307-3369393A43E0}" srcOrd="0" destOrd="0" presId="urn:microsoft.com/office/officeart/2005/8/layout/vProcess5"/>
    <dgm:cxn modelId="{37957AD6-DDD7-4A62-A4B0-4E906B7AA447}" srcId="{C78012EB-3067-42C7-808D-FCCDBFCA5F5E}" destId="{0824FA1E-153E-4FC6-98B4-FD4928595D97}" srcOrd="2" destOrd="0" parTransId="{B06FD861-382B-4F1D-B52F-DE88CD3E811C}" sibTransId="{71EB94BB-4A26-4DFF-8448-64F5F04715E8}"/>
    <dgm:cxn modelId="{E05EE848-8FEA-4C60-9253-2D321C369BE1}" type="presOf" srcId="{960E8D2C-06F7-4215-87AC-241494787B95}" destId="{51B3314C-B657-44E2-B979-6DAE3A849E7D}" srcOrd="0" destOrd="0" presId="urn:microsoft.com/office/officeart/2005/8/layout/vProcess5"/>
    <dgm:cxn modelId="{49E7899A-E374-4AEE-BD63-27A8B688BA0E}" type="presParOf" srcId="{C5644116-A587-4F6A-B0FF-191A1363A22D}" destId="{2E5AB477-5D7C-447B-9020-DB91CC575479}" srcOrd="0" destOrd="0" presId="urn:microsoft.com/office/officeart/2005/8/layout/vProcess5"/>
    <dgm:cxn modelId="{C23CED03-AA33-4483-80A0-49F8CAE089D8}" type="presParOf" srcId="{C5644116-A587-4F6A-B0FF-191A1363A22D}" destId="{71F1AEC7-D75C-4AF1-AEDA-0DE490F9831F}" srcOrd="1" destOrd="0" presId="urn:microsoft.com/office/officeart/2005/8/layout/vProcess5"/>
    <dgm:cxn modelId="{0B1CA4E7-68C1-4C98-905F-9BFAF91B9AE6}" type="presParOf" srcId="{C5644116-A587-4F6A-B0FF-191A1363A22D}" destId="{59720FFC-2C16-4101-995E-44982E42F21D}" srcOrd="2" destOrd="0" presId="urn:microsoft.com/office/officeart/2005/8/layout/vProcess5"/>
    <dgm:cxn modelId="{71E438D1-4659-4314-97C8-7162F106CED8}" type="presParOf" srcId="{C5644116-A587-4F6A-B0FF-191A1363A22D}" destId="{F06035E9-394F-49C2-BA79-1B54FF412F36}" srcOrd="3" destOrd="0" presId="urn:microsoft.com/office/officeart/2005/8/layout/vProcess5"/>
    <dgm:cxn modelId="{FD1D0AAA-5C0F-46E3-B62C-5AB4AA6CBA9C}" type="presParOf" srcId="{C5644116-A587-4F6A-B0FF-191A1363A22D}" destId="{0B3E64BA-49C5-4D99-9307-3369393A43E0}" srcOrd="4" destOrd="0" presId="urn:microsoft.com/office/officeart/2005/8/layout/vProcess5"/>
    <dgm:cxn modelId="{BE51C05F-1F70-47A2-869C-3995DF5116D8}" type="presParOf" srcId="{C5644116-A587-4F6A-B0FF-191A1363A22D}" destId="{51B3314C-B657-44E2-B979-6DAE3A849E7D}" srcOrd="5" destOrd="0" presId="urn:microsoft.com/office/officeart/2005/8/layout/vProcess5"/>
    <dgm:cxn modelId="{DC2AA84D-1A66-46C1-ACC0-25F8895602FB}" type="presParOf" srcId="{C5644116-A587-4F6A-B0FF-191A1363A22D}" destId="{EB0F5A76-750B-4579-A800-D273C407E351}" srcOrd="6" destOrd="0" presId="urn:microsoft.com/office/officeart/2005/8/layout/vProcess5"/>
    <dgm:cxn modelId="{BB83094D-B942-462B-9CF5-466A8D401571}" type="presParOf" srcId="{C5644116-A587-4F6A-B0FF-191A1363A22D}" destId="{A1E1E3D8-BEB2-46B1-939E-0AF95497BDE4}" srcOrd="7" destOrd="0" presId="urn:microsoft.com/office/officeart/2005/8/layout/vProcess5"/>
    <dgm:cxn modelId="{A97260B8-A030-4910-BA85-3248F810A811}" type="presParOf" srcId="{C5644116-A587-4F6A-B0FF-191A1363A22D}" destId="{6B87476E-57B0-4BA5-B931-7F96A1FB0B16}" srcOrd="8" destOrd="0" presId="urn:microsoft.com/office/officeart/2005/8/layout/vProcess5"/>
    <dgm:cxn modelId="{25A3F73A-0542-46B9-A624-1CD4F13ED3DF}" type="presParOf" srcId="{C5644116-A587-4F6A-B0FF-191A1363A22D}" destId="{95ECB779-1225-4E1B-8488-D80DD40EE090}" srcOrd="9" destOrd="0" presId="urn:microsoft.com/office/officeart/2005/8/layout/vProcess5"/>
    <dgm:cxn modelId="{673FBDA1-D0DE-4500-AF61-61B660842A63}" type="presParOf" srcId="{C5644116-A587-4F6A-B0FF-191A1363A22D}" destId="{345FB2D6-0E5E-4DAE-A38A-30BCC529722A}" srcOrd="10" destOrd="0" presId="urn:microsoft.com/office/officeart/2005/8/layout/vProcess5"/>
    <dgm:cxn modelId="{55BE3DA8-A367-47DA-B4A9-28F0BC05479D}" type="presParOf" srcId="{C5644116-A587-4F6A-B0FF-191A1363A22D}" destId="{BB439CD3-838C-405D-B8F9-0AF45574503B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="" xmlns:a16="http://schemas.microsoft.com/office/drawing/2014/main" id="{54465A4E-886A-8BF7-E4ED-51ADBCA583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2" y="2"/>
            <a:ext cx="2929627" cy="498634"/>
          </a:xfrm>
          <a:prstGeom prst="rect">
            <a:avLst/>
          </a:prstGeom>
        </p:spPr>
        <p:txBody>
          <a:bodyPr vert="horz" lIns="90855" tIns="45427" rIns="90855" bIns="45427" rtlCol="0"/>
          <a:lstStyle>
            <a:lvl1pPr algn="l">
              <a:defRPr sz="1200"/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7786F179-B137-1BA2-31C5-C557B720050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29961" y="2"/>
            <a:ext cx="2929627" cy="498634"/>
          </a:xfrm>
          <a:prstGeom prst="rect">
            <a:avLst/>
          </a:prstGeom>
        </p:spPr>
        <p:txBody>
          <a:bodyPr vert="horz" lIns="90855" tIns="45427" rIns="90855" bIns="45427" rtlCol="0"/>
          <a:lstStyle>
            <a:lvl1pPr algn="r">
              <a:defRPr sz="1200"/>
            </a:lvl1pPr>
          </a:lstStyle>
          <a:p>
            <a:pPr>
              <a:defRPr/>
            </a:pPr>
            <a:fld id="{5526A75D-7F04-4FC6-A463-C54D2B378BBB}" type="datetimeFigureOut">
              <a:rPr lang="ru-RU"/>
              <a:pPr>
                <a:defRPr/>
              </a:pPr>
              <a:t>20.07.2023</a:t>
            </a:fld>
            <a:endParaRPr lang="x-none"/>
          </a:p>
        </p:txBody>
      </p:sp>
      <p:sp>
        <p:nvSpPr>
          <p:cNvPr id="4" name="Образ слайда 3">
            <a:extLst>
              <a:ext uri="{FF2B5EF4-FFF2-40B4-BE49-F238E27FC236}">
                <a16:creationId xmlns="" xmlns:a16="http://schemas.microsoft.com/office/drawing/2014/main" id="{E12756D6-1882-9113-A33C-7804EB722D8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55" tIns="45427" rIns="90855" bIns="45427" rtlCol="0" anchor="ctr"/>
          <a:lstStyle/>
          <a:p>
            <a:pPr lvl="0"/>
            <a:endParaRPr lang="x-none" noProof="0"/>
          </a:p>
        </p:txBody>
      </p:sp>
      <p:sp>
        <p:nvSpPr>
          <p:cNvPr id="5" name="Заметки 4">
            <a:extLst>
              <a:ext uri="{FF2B5EF4-FFF2-40B4-BE49-F238E27FC236}">
                <a16:creationId xmlns="" xmlns:a16="http://schemas.microsoft.com/office/drawing/2014/main" id="{C93E8169-EA00-07DD-4CD1-0AF9EC0261A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6432" y="4784666"/>
            <a:ext cx="5408301" cy="3914437"/>
          </a:xfrm>
          <a:prstGeom prst="rect">
            <a:avLst/>
          </a:prstGeom>
        </p:spPr>
        <p:txBody>
          <a:bodyPr vert="horz" lIns="90855" tIns="45427" rIns="90855" bIns="45427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x-none" noProof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F9DBE394-0F24-BA6D-3FBB-6995BD67DA4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2" y="9443881"/>
            <a:ext cx="2929627" cy="498634"/>
          </a:xfrm>
          <a:prstGeom prst="rect">
            <a:avLst/>
          </a:prstGeom>
        </p:spPr>
        <p:txBody>
          <a:bodyPr vert="horz" lIns="90855" tIns="45427" rIns="90855" bIns="45427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7311D865-9778-C06F-AC8B-034FB97DE7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29961" y="9443881"/>
            <a:ext cx="2929627" cy="498634"/>
          </a:xfrm>
          <a:prstGeom prst="rect">
            <a:avLst/>
          </a:prstGeom>
        </p:spPr>
        <p:txBody>
          <a:bodyPr vert="horz" wrap="square" lIns="90855" tIns="45427" rIns="90855" bIns="4542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773F067-3DD6-4462-B968-B57FFDC84DA3}" type="slidenum">
              <a:rPr lang="x-none" altLang="ru-RU"/>
              <a:pPr>
                <a:defRPr/>
              </a:pPr>
              <a:t>‹#›</a:t>
            </a:fld>
            <a:endParaRPr lang="x-none" altLang="ru-RU"/>
          </a:p>
        </p:txBody>
      </p:sp>
    </p:spTree>
    <p:extLst>
      <p:ext uri="{BB962C8B-B14F-4D97-AF65-F5344CB8AC3E}">
        <p14:creationId xmlns:p14="http://schemas.microsoft.com/office/powerpoint/2010/main" val="111510118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640E87-2209-4891-8A7E-4A7CFA3B2BA7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29261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6525" y="1347788"/>
            <a:ext cx="6465888" cy="36369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D93D9378-7657-4AD4-A667-485642A6C1FC}" type="slidenum">
              <a:rPr lang="ru-RU" altLang="ru-RU" smtClean="0">
                <a:solidFill>
                  <a:srgbClr val="000000"/>
                </a:solidFill>
              </a:rPr>
              <a:pPr/>
              <a:t>8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2252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217488" y="1466850"/>
            <a:ext cx="7043738" cy="39624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D93D9378-7657-4AD4-A667-485642A6C1FC}" type="slidenum">
              <a:rPr lang="ru-RU" altLang="ru-RU" smtClean="0">
                <a:solidFill>
                  <a:srgbClr val="000000"/>
                </a:solidFill>
              </a:rPr>
              <a:pPr/>
              <a:t>9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4200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217488" y="1466850"/>
            <a:ext cx="7043738" cy="39624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D93D9378-7657-4AD4-A667-485642A6C1FC}" type="slidenum">
              <a:rPr lang="ru-RU" altLang="ru-RU" smtClean="0">
                <a:solidFill>
                  <a:srgbClr val="000000"/>
                </a:solidFill>
              </a:rPr>
              <a:pPr/>
              <a:t>10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9941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2275" y="1241425"/>
            <a:ext cx="5953125" cy="33496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D93D9378-7657-4AD4-A667-485642A6C1FC}" type="slidenum">
              <a:rPr lang="ru-RU" altLang="ru-RU" smtClean="0">
                <a:solidFill>
                  <a:srgbClr val="000000"/>
                </a:solidFill>
              </a:rPr>
              <a:pPr/>
              <a:t>13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4506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2C1B6C6C-C58D-C43C-D621-7C2A04298D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8FD4E4-4340-4887-8D6D-8EB110BD92B4}" type="datetime1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2778BA2C-05E2-E438-A131-C9FD8BE4D6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85B2B87F-63F3-022F-FEF7-7875F712F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9D539C-7F70-4196-AA59-1A51AA669F5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249309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82DA8A79-4748-256C-E0E5-AC8F29421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F9C73D-C009-4F32-9847-0FBB60C5567C}" type="datetime1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B9DCC346-539D-4B22-81E9-6ED5FE452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CCE72333-B403-0B0C-B101-C85CC71205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15EE59-9447-4E13-BB2C-F63A7BE1284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480684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FAC2B2ED-12ED-E192-3FC9-2D6278C1F7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5B1453-878C-47CE-BBB7-077725982CD6}" type="datetime1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602832AE-D0BA-7249-BFC9-951598F5ED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D2085606-22DF-44DB-A65D-9DC2CA78E7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57F15E-AD75-4CFF-A961-77FC8201D2F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668531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6" hidden="1">
            <a:extLst>
              <a:ext uri="{FF2B5EF4-FFF2-40B4-BE49-F238E27FC236}">
                <a16:creationId xmlns="" xmlns:a16="http://schemas.microsoft.com/office/drawing/2014/main" id="{08F35850-3898-EB87-E1F0-5F8E0C235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050" name="Объект 6" hidden="1">
                        <a:extLst>
                          <a:ext uri="{FF2B5EF4-FFF2-40B4-BE49-F238E27FC236}">
                            <a16:creationId xmlns="" xmlns:a16="http://schemas.microsoft.com/office/drawing/2014/main" id="{2E25C718-CAAB-89AD-F136-EB04250BC64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A12B0340-5073-24CE-1B07-F7C52180591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defRPr/>
            </a:pPr>
            <a:r>
              <a:rPr lang="ru-RU" altLang="ru-RU" sz="1400" b="1">
                <a:solidFill>
                  <a:srgbClr val="FFFFFF"/>
                </a:solidFill>
              </a:rPr>
              <a:t>Министерство труда и</a:t>
            </a:r>
          </a:p>
          <a:p>
            <a:pPr>
              <a:defRPr/>
            </a:pPr>
            <a:r>
              <a:rPr lang="ru-RU" altLang="ru-RU" sz="1400" b="1">
                <a:solidFill>
                  <a:srgbClr val="FFFFFF"/>
                </a:solidFill>
              </a:rPr>
              <a:t>социальной защиты населения</a:t>
            </a:r>
          </a:p>
          <a:p>
            <a:pPr>
              <a:defRPr/>
            </a:pPr>
            <a:r>
              <a:rPr lang="ru-RU" altLang="ru-RU" sz="1400" b="1">
                <a:solidFill>
                  <a:srgbClr val="FFFFFF"/>
                </a:solidFill>
              </a:rPr>
              <a:t>Республики Казахстан</a:t>
            </a:r>
            <a:endParaRPr lang="en-US" altLang="ru-RU" sz="14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66380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FBD4FFA-B171-4B2D-8CB4-48B6238C39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29640815-565B-4931-A73D-2FE5B59004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32085203-0304-4CEF-80A8-FCE9AD803A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7E030-762E-4D8B-A7A9-E0312157F48A}" type="datetimeFigureOut">
              <a:rPr lang="ru-RU" smtClean="0"/>
              <a:pPr/>
              <a:t>20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1A13542A-78B1-4E1B-81CF-CA06CBA24C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E69235C1-DD3A-4F72-80DE-1169EB8C1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78048-4F0C-45A2-B566-5DCB110C777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35393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21A7B2F-6B9F-440D-9B42-0F48DEF02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A8EDCD41-6609-4E31-B373-278F9D56CC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0556C5E0-30CF-4301-AFB4-87D515B53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7E030-762E-4D8B-A7A9-E0312157F48A}" type="datetimeFigureOut">
              <a:rPr lang="ru-RU" smtClean="0"/>
              <a:pPr/>
              <a:t>20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D5E6EB01-75DD-4991-B4A8-F618E000B4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8CF8CA59-130A-4CC4-B774-826B682726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78048-4F0C-45A2-B566-5DCB110C777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58180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84AC6E1-C3AC-4357-A4FD-CA2C53183A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C064F519-7E7A-4861-B4A4-95FDB94803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84071553-E4C2-440D-8CDD-764BD84567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7E030-762E-4D8B-A7A9-E0312157F48A}" type="datetimeFigureOut">
              <a:rPr lang="ru-RU" smtClean="0"/>
              <a:pPr/>
              <a:t>20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19D0251D-C57B-4589-8D66-6DF839E134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1C01522-840B-4527-A23D-18AF18E55B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78048-4F0C-45A2-B566-5DCB110C777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00718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A52D3EF-84A3-4AAD-B85C-EB39C03D2E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03EC60C6-E3F4-4F79-94EB-DA36F365F70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292F9607-7320-4F89-AA20-E02CE97FFA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12BA587B-F22E-4326-955D-10E1E0BB1E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7E030-762E-4D8B-A7A9-E0312157F48A}" type="datetimeFigureOut">
              <a:rPr lang="ru-RU" smtClean="0"/>
              <a:pPr/>
              <a:t>20.07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EFEB3B28-B3F0-4EA3-BE84-9BF604DCC6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7AD5B47C-7573-40C6-A8BA-97D1850805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78048-4F0C-45A2-B566-5DCB110C777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31933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4213463-7DC6-4BD3-B653-469234247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C4D32984-4FF4-47D9-A08C-75D5D0F403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6297325D-148C-4087-B892-59D0F02750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7B5ECD74-982B-4A3E-9B21-FD4EB3DAB9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764EB6F8-D528-46F8-8DA6-464AFF34A63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2053B5F1-3E05-4826-B363-5A14ED506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7E030-762E-4D8B-A7A9-E0312157F48A}" type="datetimeFigureOut">
              <a:rPr lang="ru-RU" smtClean="0"/>
              <a:pPr/>
              <a:t>20.07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="" xmlns:a16="http://schemas.microsoft.com/office/drawing/2014/main" id="{40323EE2-2ACE-4885-81CB-129FE8F110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BA4046B4-E8B8-4670-AA39-34B698345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78048-4F0C-45A2-B566-5DCB110C777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76671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A0516B5-0ADF-4B92-9546-28F68DC079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F53CC6F0-E4AD-4EEB-9A92-A79978A213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7E030-762E-4D8B-A7A9-E0312157F48A}" type="datetimeFigureOut">
              <a:rPr lang="ru-RU" smtClean="0"/>
              <a:pPr/>
              <a:t>20.07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5B5A1C47-29BE-40EF-8398-00D6AC58D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ADD33F2A-07F3-4A38-A254-C2A3CEF7C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78048-4F0C-45A2-B566-5DCB110C777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91969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25D11648-4836-43F0-B12C-B87DD70B1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7E030-762E-4D8B-A7A9-E0312157F48A}" type="datetimeFigureOut">
              <a:rPr lang="ru-RU" smtClean="0"/>
              <a:pPr/>
              <a:t>20.07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A9A503C2-A5F3-44DD-8BEB-81ABA82896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53566A0D-1C66-4037-8ECB-FFC99FE333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78048-4F0C-45A2-B566-5DCB110C777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2288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70CFA2FD-839F-EF28-1F55-DC07C376A3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4E00CF-439C-41EC-8C1C-658D0E2C4C7B}" type="datetime1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0DE5AB08-F66E-E181-291A-6468F0DDE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DF9D39C0-58B4-1A28-D9E1-D430B59F4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31DF2A-8BD9-453C-8C94-FFF427476CE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7584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ABC5D4F9-C161-49B6-ACA5-E874B18F72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65942C4-1C95-47D7-81C8-B8380AB234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1574A79B-555F-4D5E-B3C0-667FE7AA6C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D3679A05-08C3-4598-BF7F-8E09980116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7E030-762E-4D8B-A7A9-E0312157F48A}" type="datetimeFigureOut">
              <a:rPr lang="ru-RU" smtClean="0"/>
              <a:pPr/>
              <a:t>20.07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EEFAC5C1-DC6A-499A-BF47-24DAC81FA5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DFB261FA-1A0B-4714-AF08-348EB5DCDE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78048-4F0C-45A2-B566-5DCB110C777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53586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BB5DAF0-3216-4961-AA8F-DC9D3D2418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1FD027A9-4123-4825-92DA-7B92D0FDE7C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E6E79FB2-E574-4C37-8E94-F00E6470F8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D07F4A79-2A88-4033-89B8-67594038B0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7E030-762E-4D8B-A7A9-E0312157F48A}" type="datetimeFigureOut">
              <a:rPr lang="ru-RU" smtClean="0"/>
              <a:pPr/>
              <a:t>20.07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FD746831-9893-415F-BE26-2CF0CE349B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726B3B4E-C8EF-483A-A779-BB7AE0F07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78048-4F0C-45A2-B566-5DCB110C777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16123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7E110C9-D02C-45F5-BD5E-E15F4CD2D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16A1528F-4F18-47F0-B9BD-D810DAFE86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9E26C13D-C3CE-4F98-AB07-A05B6B516C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7E030-762E-4D8B-A7A9-E0312157F48A}" type="datetimeFigureOut">
              <a:rPr lang="ru-RU" smtClean="0"/>
              <a:pPr/>
              <a:t>20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04E978A5-1487-49AD-A241-ABF72C8D8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0DD5EFCB-0AA7-4B04-B9BA-F9BFE14B02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78048-4F0C-45A2-B566-5DCB110C777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806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="" xmlns:a16="http://schemas.microsoft.com/office/drawing/2014/main" id="{642340C0-ED67-49B9-BDE0-324C5662355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FF903CD2-DF7F-4C83-8D89-2B0E31A6C8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F95E86C2-3C17-44AD-A9D9-FDBD183197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7E030-762E-4D8B-A7A9-E0312157F48A}" type="datetimeFigureOut">
              <a:rPr lang="ru-RU" smtClean="0"/>
              <a:pPr/>
              <a:t>20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4D1FD597-F6B8-4D03-81CA-3A01C3D643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10D9BFC7-6BF2-449A-93C7-013CA76CD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78048-4F0C-45A2-B566-5DCB110C777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97503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01581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ый треугольник 1">
            <a:extLst>
              <a:ext uri="{FF2B5EF4-FFF2-40B4-BE49-F238E27FC236}">
                <a16:creationId xmlns="" xmlns:a16="http://schemas.microsoft.com/office/drawing/2014/main" id="{21DB4741-3CB5-4657-9834-82EEC9E66761}"/>
              </a:ext>
            </a:extLst>
          </p:cNvPr>
          <p:cNvSpPr/>
          <p:nvPr userDrawn="1"/>
        </p:nvSpPr>
        <p:spPr>
          <a:xfrm rot="10800000">
            <a:off x="11457544" y="-1"/>
            <a:ext cx="734457" cy="664228"/>
          </a:xfrm>
          <a:prstGeom prst="rtTriangle">
            <a:avLst/>
          </a:prstGeom>
          <a:solidFill>
            <a:srgbClr val="295E7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11726280" y="74277"/>
            <a:ext cx="495099" cy="215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920705">
              <a:defRPr/>
            </a:pPr>
            <a:fld id="{6A93956F-647A-44B9-8163-DDB447652883}" type="slidenum">
              <a:rPr lang="ru-RU" altLang="ru-RU" sz="1400" smtClean="0">
                <a:solidFill>
                  <a:schemeClr val="bg1"/>
                </a:solidFill>
                <a:latin typeface="Arial" panose="020B0604020202020204" pitchFamily="34" charset="0"/>
              </a:rPr>
              <a:pPr algn="ctr" defTabSz="920705">
                <a:defRPr/>
              </a:pPr>
              <a:t>‹#›</a:t>
            </a:fld>
            <a:endParaRPr lang="ru-RU" altLang="ru-RU" sz="14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Straight Connector 284">
            <a:extLst>
              <a:ext uri="{FF2B5EF4-FFF2-40B4-BE49-F238E27FC236}">
                <a16:creationId xmlns="" xmlns:a16="http://schemas.microsoft.com/office/drawing/2014/main" id="{86F53329-7572-4F05-861B-42919DD9BAB0}"/>
              </a:ext>
            </a:extLst>
          </p:cNvPr>
          <p:cNvCxnSpPr/>
          <p:nvPr userDrawn="1"/>
        </p:nvCxnSpPr>
        <p:spPr>
          <a:xfrm>
            <a:off x="0" y="664248"/>
            <a:ext cx="12192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25919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6A26F7BF-A573-79BB-397A-5E8EB2D7F3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FFF947-6519-4C3C-8A6A-DB720740816D}" type="datetimeFigureOut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898357FC-6297-5377-B786-7B52A57AB8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2FE447B6-7FC2-A12E-B787-D95E822AD0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B010E16-C979-48EC-BFCE-65F998E38C9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57572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444632FB-BEC5-E731-E664-20456272BF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7449-04D0-492B-8BC4-FFF461B761B9}" type="datetimeFigureOut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299740CC-6476-0EBE-B005-2AED1C44C7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E440E8BA-CD08-DD61-0AAC-7BE26BE13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324693D-CE93-4E76-8923-B505EA5AB2A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8646376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82C0A73A-3DA0-938E-00B4-5432D92FCA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250709-410E-4BC9-BB04-95263A012A60}" type="datetimeFigureOut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05C4D0A1-A120-7C17-AB3A-F3EFE82858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3D2BA1EE-E43A-DD0A-6385-59659AF80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90D224-1BBA-49C7-B17E-76F2EF33117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668553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="" xmlns:a16="http://schemas.microsoft.com/office/drawing/2014/main" id="{4B295574-D069-D1CC-6FD7-1A502AD71A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3FCB49-C781-4690-9BE8-4F3EF59F3382}" type="datetimeFigureOut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="" xmlns:a16="http://schemas.microsoft.com/office/drawing/2014/main" id="{3E28C9DB-530A-AB61-36B2-B6DA41D231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="" xmlns:a16="http://schemas.microsoft.com/office/drawing/2014/main" id="{0FB2E42F-4E0C-D361-4517-F57B95F483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54E18B2-6300-4630-8235-1C0DCA5E31C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14869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062F3AC7-F71F-DA35-B765-2A89476851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FFC38A-C94D-4BC5-9536-673E6CE1C912}" type="datetime1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07468F09-0C42-6A78-103B-45D84594B5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1422045-F21B-129F-0D30-49D5CF9C91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38619-9B71-4170-8536-76463D59B19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009238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>
              <a:ext uri="{FF2B5EF4-FFF2-40B4-BE49-F238E27FC236}">
                <a16:creationId xmlns="" xmlns:a16="http://schemas.microsoft.com/office/drawing/2014/main" id="{F9FCEABB-FD68-82AE-F9D7-C6EE3EA9E2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78E741-7B3D-4867-9F2E-BCB7FC9A83FC}" type="datetimeFigureOut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="" xmlns:a16="http://schemas.microsoft.com/office/drawing/2014/main" id="{BA25ACC3-3821-E78E-060C-0851D51205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="" xmlns:a16="http://schemas.microsoft.com/office/drawing/2014/main" id="{918C3EDB-AC53-D573-0DA5-8F46B9818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7D6E7C2-7A0F-48A1-826B-FE0EBCE7AE7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124246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="" xmlns:a16="http://schemas.microsoft.com/office/drawing/2014/main" id="{99EBE076-FF41-AF8E-8509-FAA41C8DE9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B64E3B-F7CB-41EF-81B5-FB6788AB7F74}" type="datetimeFigureOut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="" xmlns:a16="http://schemas.microsoft.com/office/drawing/2014/main" id="{90806080-BD5D-F8A5-E46B-76ED01D896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="" xmlns:a16="http://schemas.microsoft.com/office/drawing/2014/main" id="{3B2339F0-8700-E8F6-DD33-510230E7E1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4F8D546-6DC3-4940-99BD-23376A0E172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842076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="" xmlns:a16="http://schemas.microsoft.com/office/drawing/2014/main" id="{82F84D51-5E37-20B2-E8FF-0DCA45A541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6C4A3A-C352-41C9-9A5B-417E969F2F84}" type="datetimeFigureOut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="" xmlns:a16="http://schemas.microsoft.com/office/drawing/2014/main" id="{12D2E601-109C-1A7E-4B8A-01DD1D5F7A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>
            <a:extLst>
              <a:ext uri="{FF2B5EF4-FFF2-40B4-BE49-F238E27FC236}">
                <a16:creationId xmlns="" xmlns:a16="http://schemas.microsoft.com/office/drawing/2014/main" id="{6043130E-9523-E8B6-8A3F-712836FEE3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49E2A1D-6C50-443D-8F2F-A3CC82D5683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944329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="" xmlns:a16="http://schemas.microsoft.com/office/drawing/2014/main" id="{61E3B6AD-8C70-4BC4-A0E6-C24ABAFB38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087CFE-8FBC-4F81-9EFD-EBC2A578913A}" type="datetimeFigureOut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="" xmlns:a16="http://schemas.microsoft.com/office/drawing/2014/main" id="{1643DAE0-B74A-9C29-703F-2915E53DB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="" xmlns:a16="http://schemas.microsoft.com/office/drawing/2014/main" id="{EAE5F391-0E1A-B834-B995-CD92ED8F1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AD7FC7D-132A-4E92-B328-AC13AC27DFC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191241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="" xmlns:a16="http://schemas.microsoft.com/office/drawing/2014/main" id="{36AF435B-4974-47CA-EB80-B697C44976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C92A41-911A-4B17-AA4E-4DEF61CB81DA}" type="datetimeFigureOut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="" xmlns:a16="http://schemas.microsoft.com/office/drawing/2014/main" id="{48012DFE-D71E-0A05-B151-5E4883E3C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="" xmlns:a16="http://schemas.microsoft.com/office/drawing/2014/main" id="{212C8FDD-80C1-6213-E9AB-8292A9A12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998665-BB42-4715-9D5B-6F6AC7263F6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676375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FECCD76B-9110-8B15-E671-A9C94BB830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94EC7A-D92B-4B0E-8D06-937D9F85696F}" type="datetimeFigureOut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AAD0AA72-AA6E-552A-7085-BAD8193CF8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5382E320-E28D-144C-3953-5D7FFE0CF4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F28A831-5642-4AF4-A80F-D20DCE4FB48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457167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4F24E3DE-ACBD-E8C1-8C4B-B352673AC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0C5889-41CE-4377-BE28-F26B0686F5DB}" type="datetimeFigureOut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95E35B7-4F76-5B69-96A8-4A1DBDAA91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1A5DEECD-221F-2BC3-330D-C59A9373B6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634F568-DF5A-4865-9DAA-4D310E15E1C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835108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="" xmlns:a16="http://schemas.microsoft.com/office/drawing/2014/main" id="{3B062AFB-790F-7ED5-C6E5-B1DF36C50C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084425-E554-4913-8A45-49A82C576DBF}" type="datetime1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="" xmlns:a16="http://schemas.microsoft.com/office/drawing/2014/main" id="{8979DA35-D7BA-828F-0EF9-65284A956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="" xmlns:a16="http://schemas.microsoft.com/office/drawing/2014/main" id="{97F10A5B-3FEF-5388-10A0-F58CD9B408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4F3372-04EF-4582-B84F-FF923902A99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42651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>
              <a:ext uri="{FF2B5EF4-FFF2-40B4-BE49-F238E27FC236}">
                <a16:creationId xmlns="" xmlns:a16="http://schemas.microsoft.com/office/drawing/2014/main" id="{B73FAAF9-CCF1-8A46-CAE0-42FB16F219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C0EBE1-748D-4118-98B5-097979911D60}" type="datetime1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="" xmlns:a16="http://schemas.microsoft.com/office/drawing/2014/main" id="{969A089D-D5C1-039E-5551-C81D5502DE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="" xmlns:a16="http://schemas.microsoft.com/office/drawing/2014/main" id="{F58F25E1-D62A-3AF4-32CB-3B1C5C5E0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90BD5E-6522-4A0E-B1A0-EDE5081FDDC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789756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="" xmlns:a16="http://schemas.microsoft.com/office/drawing/2014/main" id="{2D008DCD-8313-A378-B108-F13E76E9A1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FF215B-5897-4712-87A2-F298150AB9D9}" type="datetime1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="" xmlns:a16="http://schemas.microsoft.com/office/drawing/2014/main" id="{CD61814E-9B19-84AE-A326-25B890C00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="" xmlns:a16="http://schemas.microsoft.com/office/drawing/2014/main" id="{74F1B36D-5DB9-BD56-5650-4641E4F83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A69003-79C3-4F6F-ACA6-E28906D5109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785770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="" xmlns:a16="http://schemas.microsoft.com/office/drawing/2014/main" id="{93825EE6-7509-23FF-0458-60A072740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41BA92-5750-488B-BD11-2C820E336C2C}" type="datetime1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="" xmlns:a16="http://schemas.microsoft.com/office/drawing/2014/main" id="{F8A4CDC6-77B9-C0D7-2175-62698C063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>
            <a:extLst>
              <a:ext uri="{FF2B5EF4-FFF2-40B4-BE49-F238E27FC236}">
                <a16:creationId xmlns="" xmlns:a16="http://schemas.microsoft.com/office/drawing/2014/main" id="{93DB616D-F146-4820-4A5E-216297DB2C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E0DA86-CB47-4D89-BB70-F1253B8DB57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701896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="" xmlns:a16="http://schemas.microsoft.com/office/drawing/2014/main" id="{A7EBF45C-CDAA-BB0B-1ECD-4ECED292A6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743979-A02C-40B0-8615-929E5F923D54}" type="datetime1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="" xmlns:a16="http://schemas.microsoft.com/office/drawing/2014/main" id="{25FB8058-242F-C412-E530-939ED7BA1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="" xmlns:a16="http://schemas.microsoft.com/office/drawing/2014/main" id="{5A7E5D08-27B5-DF96-6015-3F8699968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3BA134-E339-4831-9561-D6237D23CE5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886972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="" xmlns:a16="http://schemas.microsoft.com/office/drawing/2014/main" id="{352A0E48-CDC2-EF9E-0E65-93E5AAE2F4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906674-55A2-46A9-99B1-BCC8AE34BD02}" type="datetime1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="" xmlns:a16="http://schemas.microsoft.com/office/drawing/2014/main" id="{1CC8ED27-0DFA-7F70-ED4E-D27D003173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="" xmlns:a16="http://schemas.microsoft.com/office/drawing/2014/main" id="{B8A32F33-3374-C0DA-09BC-ACD7CCCC0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77D076-5366-4A7B-A9F9-20B6553BB58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481933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>
            <a:extLst>
              <a:ext uri="{FF2B5EF4-FFF2-40B4-BE49-F238E27FC236}">
                <a16:creationId xmlns="" xmlns:a16="http://schemas.microsoft.com/office/drawing/2014/main" id="{C5B12651-C2CA-470B-4672-748BDBFC0B8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>
            <a:extLst>
              <a:ext uri="{FF2B5EF4-FFF2-40B4-BE49-F238E27FC236}">
                <a16:creationId xmlns="" xmlns:a16="http://schemas.microsoft.com/office/drawing/2014/main" id="{9AE11B5F-91E5-AC2F-7C66-2CAE195FF71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8B7C4FF6-571A-B68E-AA29-4810F58D14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D4C0049-1DA3-4621-81E5-4933E008AA23}" type="datetime1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5574CA2C-F633-918A-6063-7217420830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0DAF3528-FF7B-493D-59E3-9F1561D622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DFD9E689-6A79-4DE0-B70E-10AEC38B960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  <p:sldLayoutId id="2147483853" r:id="rId10"/>
    <p:sldLayoutId id="2147483854" r:id="rId11"/>
    <p:sldLayoutId id="2147483855" r:id="rId12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F9AC378-2DA0-48CB-9329-D2E8A2C0D2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3807D663-B626-435E-A2E1-02C5EA7199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7A4FF810-0A7C-43A5-9D79-B7ADFFEAF1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67E030-762E-4D8B-A7A9-E0312157F48A}" type="datetimeFigureOut">
              <a:rPr lang="ru-RU" smtClean="0"/>
              <a:pPr/>
              <a:t>20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8CE0C46B-D494-41AF-86AE-CEA898E462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2CAC467E-AE53-441F-8BBC-C33C5D2EEE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478048-4F0C-45A2-B566-5DCB110C777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7509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  <p:sldLayoutId id="214748386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>
            <a:extLst>
              <a:ext uri="{FF2B5EF4-FFF2-40B4-BE49-F238E27FC236}">
                <a16:creationId xmlns="" xmlns:a16="http://schemas.microsoft.com/office/drawing/2014/main" id="{352EC36E-C939-039D-B644-05BBB46AD13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>
            <a:extLst>
              <a:ext uri="{FF2B5EF4-FFF2-40B4-BE49-F238E27FC236}">
                <a16:creationId xmlns="" xmlns:a16="http://schemas.microsoft.com/office/drawing/2014/main" id="{BAFDC2E3-AEF5-FA59-A948-6599F979A6B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FB46BB4E-4EE2-A2E7-059F-E0F3BD30CB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A6570151-A257-44C6-88BE-2C20956D4CF9}" type="datetimeFigureOut">
              <a:rPr lang="ru-RU"/>
              <a:pPr>
                <a:defRPr/>
              </a:pPr>
              <a:t>20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4600A2B7-0443-D4BE-E6E9-23B70F5877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DF5FF47A-BBC1-1CB7-F4AE-92E738B26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fld id="{08CB62D3-CB03-4997-BD3B-A85EBDA6201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90264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18" Type="http://schemas.openxmlformats.org/officeDocument/2006/relationships/image" Target="../media/image47.svg"/><Relationship Id="rId26" Type="http://schemas.openxmlformats.org/officeDocument/2006/relationships/image" Target="../media/image55.svg"/><Relationship Id="rId39" Type="http://schemas.openxmlformats.org/officeDocument/2006/relationships/image" Target="../media/image31.png"/><Relationship Id="rId21" Type="http://schemas.openxmlformats.org/officeDocument/2006/relationships/image" Target="../media/image22.png"/><Relationship Id="rId34" Type="http://schemas.openxmlformats.org/officeDocument/2006/relationships/image" Target="../media/image63.svg"/><Relationship Id="rId42" Type="http://schemas.openxmlformats.org/officeDocument/2006/relationships/image" Target="../media/image69.svg"/><Relationship Id="rId47" Type="http://schemas.openxmlformats.org/officeDocument/2006/relationships/image" Target="../media/image35.png"/><Relationship Id="rId50" Type="http://schemas.openxmlformats.org/officeDocument/2006/relationships/image" Target="../media/image77.svg"/><Relationship Id="rId55" Type="http://schemas.openxmlformats.org/officeDocument/2006/relationships/image" Target="../media/image39.png"/><Relationship Id="rId63" Type="http://schemas.microsoft.com/office/2007/relationships/hdphoto" Target="../media/hdphoto1.wdp"/><Relationship Id="rId7" Type="http://schemas.openxmlformats.org/officeDocument/2006/relationships/image" Target="../media/image16.png"/><Relationship Id="rId2" Type="http://schemas.openxmlformats.org/officeDocument/2006/relationships/image" Target="../media/image14.png"/><Relationship Id="rId16" Type="http://schemas.openxmlformats.org/officeDocument/2006/relationships/image" Target="../media/image45.svg"/><Relationship Id="rId29" Type="http://schemas.openxmlformats.org/officeDocument/2006/relationships/image" Target="../media/image26.png"/><Relationship Id="rId11" Type="http://schemas.openxmlformats.org/officeDocument/2006/relationships/image" Target="../media/image18.png"/><Relationship Id="rId24" Type="http://schemas.openxmlformats.org/officeDocument/2006/relationships/image" Target="../media/image53.svg"/><Relationship Id="rId32" Type="http://schemas.openxmlformats.org/officeDocument/2006/relationships/image" Target="../media/image61.svg"/><Relationship Id="rId37" Type="http://schemas.openxmlformats.org/officeDocument/2006/relationships/image" Target="../media/image30.png"/><Relationship Id="rId40" Type="http://schemas.openxmlformats.org/officeDocument/2006/relationships/image" Target="../media/image67.svg"/><Relationship Id="rId45" Type="http://schemas.openxmlformats.org/officeDocument/2006/relationships/image" Target="../media/image34.png"/><Relationship Id="rId53" Type="http://schemas.openxmlformats.org/officeDocument/2006/relationships/image" Target="../media/image38.png"/><Relationship Id="rId58" Type="http://schemas.openxmlformats.org/officeDocument/2006/relationships/image" Target="../media/image42.png"/><Relationship Id="rId5" Type="http://schemas.openxmlformats.org/officeDocument/2006/relationships/image" Target="../media/image15.png"/><Relationship Id="rId61" Type="http://schemas.openxmlformats.org/officeDocument/2006/relationships/image" Target="../media/image44.png"/><Relationship Id="rId19" Type="http://schemas.openxmlformats.org/officeDocument/2006/relationships/image" Target="../media/image21.png"/><Relationship Id="rId4" Type="http://schemas.openxmlformats.org/officeDocument/2006/relationships/image" Target="../media/image35.svg"/><Relationship Id="rId9" Type="http://schemas.openxmlformats.org/officeDocument/2006/relationships/image" Target="../media/image17.png"/><Relationship Id="rId14" Type="http://schemas.openxmlformats.org/officeDocument/2006/relationships/image" Target="../media/image43.svg"/><Relationship Id="rId22" Type="http://schemas.openxmlformats.org/officeDocument/2006/relationships/image" Target="../media/image51.svg"/><Relationship Id="rId27" Type="http://schemas.openxmlformats.org/officeDocument/2006/relationships/image" Target="../media/image25.png"/><Relationship Id="rId30" Type="http://schemas.openxmlformats.org/officeDocument/2006/relationships/image" Target="../media/image59.svg"/><Relationship Id="rId35" Type="http://schemas.openxmlformats.org/officeDocument/2006/relationships/image" Target="../media/image29.png"/><Relationship Id="rId43" Type="http://schemas.openxmlformats.org/officeDocument/2006/relationships/image" Target="../media/image33.png"/><Relationship Id="rId48" Type="http://schemas.openxmlformats.org/officeDocument/2006/relationships/image" Target="../media/image75.svg"/><Relationship Id="rId56" Type="http://schemas.openxmlformats.org/officeDocument/2006/relationships/image" Target="../media/image83.svg"/><Relationship Id="rId8" Type="http://schemas.openxmlformats.org/officeDocument/2006/relationships/image" Target="../media/image39.svg"/><Relationship Id="rId51" Type="http://schemas.openxmlformats.org/officeDocument/2006/relationships/image" Target="../media/image37.png"/><Relationship Id="rId17" Type="http://schemas.openxmlformats.org/officeDocument/2006/relationships/image" Target="../media/image20.png"/><Relationship Id="rId25" Type="http://schemas.openxmlformats.org/officeDocument/2006/relationships/image" Target="../media/image24.png"/><Relationship Id="rId33" Type="http://schemas.openxmlformats.org/officeDocument/2006/relationships/image" Target="../media/image28.png"/><Relationship Id="rId38" Type="http://schemas.openxmlformats.org/officeDocument/2006/relationships/image" Target="../media/image65.svg"/><Relationship Id="rId46" Type="http://schemas.openxmlformats.org/officeDocument/2006/relationships/image" Target="../media/image73.svg"/><Relationship Id="rId59" Type="http://schemas.openxmlformats.org/officeDocument/2006/relationships/image" Target="../media/image43.png"/><Relationship Id="rId20" Type="http://schemas.openxmlformats.org/officeDocument/2006/relationships/image" Target="../media/image49.svg"/><Relationship Id="rId41" Type="http://schemas.openxmlformats.org/officeDocument/2006/relationships/image" Target="../media/image32.png"/><Relationship Id="rId54" Type="http://schemas.openxmlformats.org/officeDocument/2006/relationships/image" Target="../media/image81.svg"/><Relationship Id="rId62" Type="http://schemas.openxmlformats.org/officeDocument/2006/relationships/image" Target="../media/image45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7.svg"/><Relationship Id="rId15" Type="http://schemas.openxmlformats.org/officeDocument/2006/relationships/image" Target="../media/image19.png"/><Relationship Id="rId23" Type="http://schemas.openxmlformats.org/officeDocument/2006/relationships/image" Target="../media/image23.png"/><Relationship Id="rId28" Type="http://schemas.openxmlformats.org/officeDocument/2006/relationships/image" Target="../media/image57.svg"/><Relationship Id="rId36" Type="http://schemas.openxmlformats.org/officeDocument/2006/relationships/image" Target="../media/image6.svg"/><Relationship Id="rId49" Type="http://schemas.openxmlformats.org/officeDocument/2006/relationships/image" Target="../media/image36.png"/><Relationship Id="rId57" Type="http://schemas.openxmlformats.org/officeDocument/2006/relationships/image" Target="../media/image41.png"/><Relationship Id="rId10" Type="http://schemas.openxmlformats.org/officeDocument/2006/relationships/image" Target="../media/image41.svg"/><Relationship Id="rId31" Type="http://schemas.openxmlformats.org/officeDocument/2006/relationships/image" Target="../media/image27.png"/><Relationship Id="rId44" Type="http://schemas.openxmlformats.org/officeDocument/2006/relationships/image" Target="../media/image71.svg"/><Relationship Id="rId52" Type="http://schemas.openxmlformats.org/officeDocument/2006/relationships/image" Target="../media/image79.svg"/><Relationship Id="rId60" Type="http://schemas.openxmlformats.org/officeDocument/2006/relationships/image" Target="../media/image14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image" Target="../media/image4.png"/><Relationship Id="rId7" Type="http://schemas.openxmlformats.org/officeDocument/2006/relationships/image" Target="../media/image9.png"/><Relationship Id="rId12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11" Type="http://schemas.openxmlformats.org/officeDocument/2006/relationships/diagramColors" Target="../diagrams/colors1.xml"/><Relationship Id="rId5" Type="http://schemas.openxmlformats.org/officeDocument/2006/relationships/image" Target="../media/image6.png"/><Relationship Id="rId10" Type="http://schemas.openxmlformats.org/officeDocument/2006/relationships/diagramQuickStyle" Target="../diagrams/quickStyle1.xml"/><Relationship Id="rId4" Type="http://schemas.openxmlformats.org/officeDocument/2006/relationships/image" Target="../media/image5.png"/><Relationship Id="rId9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Объект 5" hidden="1">
            <a:extLst>
              <a:ext uri="{FF2B5EF4-FFF2-40B4-BE49-F238E27FC236}">
                <a16:creationId xmlns="" xmlns:a16="http://schemas.microsoft.com/office/drawing/2014/main" id="{1FE90555-94BF-27CF-B5A0-088686EA4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Объект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Прямая со стрелкой 12">
            <a:extLst>
              <a:ext uri="{FF2B5EF4-FFF2-40B4-BE49-F238E27FC236}">
                <a16:creationId xmlns="" xmlns:a16="http://schemas.microsoft.com/office/drawing/2014/main" id="{2E77713E-4817-9FD8-3EE6-6869E5AB7FDD}"/>
              </a:ext>
            </a:extLst>
          </p:cNvPr>
          <p:cNvCxnSpPr/>
          <p:nvPr/>
        </p:nvCxnSpPr>
        <p:spPr>
          <a:xfrm flipV="1">
            <a:off x="667039" y="3686561"/>
            <a:ext cx="9216000" cy="0"/>
          </a:xfrm>
          <a:prstGeom prst="straightConnector1">
            <a:avLst/>
          </a:prstGeom>
          <a:ln w="28575">
            <a:solidFill>
              <a:srgbClr val="00206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B3C6087F-5B77-E319-29E0-7EBF2D14AA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196" y="2613921"/>
            <a:ext cx="10572552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ОР СРЕДСТВ ИНДИВИДУАЛЬНОЙ ЗАЩИТЫ ПО СТЕПЕНИ ПРОФЕССИОНАЛЬНОГО РИСКА</a:t>
            </a:r>
            <a:endParaRPr lang="ru-RU" alt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5093721"/>
            <a:ext cx="12192000" cy="12393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719138"/>
            <a:r>
              <a:rPr lang="ru-RU" b="1" dirty="0"/>
              <a:t>2023 июль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261" y="469384"/>
            <a:ext cx="592139" cy="68062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1625600" y="617296"/>
            <a:ext cx="9067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ный офис по разработке Концепции безопасного труда</a:t>
            </a:r>
            <a:endParaRPr lang="ru-RU" altLang="ru-RU" b="1" dirty="0">
              <a:solidFill>
                <a:srgbClr val="002060"/>
              </a:solidFill>
              <a:latin typeface="Franklin Gothic Medium" panose="020B0603020102020204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TextBox 20"/>
          <p:cNvSpPr txBox="1">
            <a:spLocks noChangeArrowheads="1"/>
          </p:cNvSpPr>
          <p:nvPr/>
        </p:nvSpPr>
        <p:spPr bwMode="auto">
          <a:xfrm>
            <a:off x="11877675" y="7437438"/>
            <a:ext cx="3063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kk-KZ" altLang="ru-RU" sz="1000">
                <a:solidFill>
                  <a:srgbClr val="000000"/>
                </a:solidFill>
                <a:latin typeface="Arial Narrow" panose="020B0606020202030204" pitchFamily="34" charset="0"/>
              </a:rPr>
              <a:t>14</a:t>
            </a:r>
            <a:endParaRPr lang="ru-RU" altLang="ru-RU" sz="10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3" name="TextBox 33"/>
          <p:cNvSpPr txBox="1">
            <a:spLocks noChangeArrowheads="1"/>
          </p:cNvSpPr>
          <p:nvPr/>
        </p:nvSpPr>
        <p:spPr bwMode="auto">
          <a:xfrm>
            <a:off x="11411841" y="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en-US" altLang="ru-RU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altLang="ru-RU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ru-RU" altLang="ru-RU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4" name="Группа 34"/>
          <p:cNvGrpSpPr>
            <a:grpSpLocks/>
          </p:cNvGrpSpPr>
          <p:nvPr/>
        </p:nvGrpSpPr>
        <p:grpSpPr bwMode="auto">
          <a:xfrm>
            <a:off x="13161" y="675346"/>
            <a:ext cx="12192000" cy="46037"/>
            <a:chOff x="0" y="661986"/>
            <a:chExt cx="12192000" cy="45720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0" y="661986"/>
              <a:ext cx="10263187" cy="45720"/>
            </a:xfrm>
            <a:prstGeom prst="rect">
              <a:avLst/>
            </a:prstGeom>
            <a:solidFill>
              <a:srgbClr val="3E22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10863262" y="661986"/>
              <a:ext cx="1328738" cy="45720"/>
            </a:xfrm>
            <a:prstGeom prst="rect">
              <a:avLst/>
            </a:prstGeom>
            <a:solidFill>
              <a:srgbClr val="7371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" name="TextBox 22">
            <a:extLst>
              <a:ext uri="{FF2B5EF4-FFF2-40B4-BE49-F238E27FC236}">
                <a16:creationId xmlns="" xmlns:a16="http://schemas.microsoft.com/office/drawing/2014/main" id="{1F55EADD-8A59-C63B-2307-A6C92F4C9A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561" y="48154"/>
            <a:ext cx="10718800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None/>
              <a:defRPr/>
            </a:pPr>
            <a:r>
              <a:rPr lang="ru-RU" sz="1800" spc="-1" dirty="0">
                <a:solidFill>
                  <a:srgbClr val="0070C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itchFamily="34" charset="0"/>
              </a:rPr>
              <a:t>ПРАВИЛА ОБЕСПЕЧЕНИЯ РАБОТНИКОВ СПЕЦИАЛЬНОЙ ОДЕЖДОЙ И ДРУГИМИ СРЕДСТВАМИ ИНДИВИДУАЛЬНОЙ ЗАЩИТЫ ЗА СЧЕТ СРЕДСТВ РАБОТОДАТЕЛЯ</a:t>
            </a:r>
            <a:endParaRPr lang="ru-RU" sz="1800" spc="-1" dirty="0">
              <a:solidFill>
                <a:srgbClr val="0070C0"/>
              </a:solidFill>
              <a:uFill>
                <a:solidFill>
                  <a:srgbClr val="FFFFFF"/>
                </a:solidFill>
              </a:u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88682" y="1048293"/>
            <a:ext cx="4021016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666666"/>
                </a:solidFill>
                <a:latin typeface="Arial" panose="020B0604020202020204" pitchFamily="34" charset="0"/>
              </a:rPr>
              <a:t>Приказ Министра здравоохранения и социального развития Республики Казахстан от 28 декабря 2015 года № 1054.</a:t>
            </a:r>
          </a:p>
          <a:p>
            <a:endParaRPr lang="ru-RU" sz="1400" dirty="0" smtClean="0">
              <a:solidFill>
                <a:srgbClr val="666666"/>
              </a:solidFill>
              <a:latin typeface="Arial" panose="020B0604020202020204" pitchFamily="34" charset="0"/>
            </a:endParaRPr>
          </a:p>
          <a:p>
            <a:r>
              <a:rPr lang="ru-RU" sz="1400" dirty="0">
                <a:solidFill>
                  <a:srgbClr val="444444"/>
                </a:solidFill>
                <a:latin typeface="customFont"/>
              </a:rPr>
              <a:t>Об утверждении </a:t>
            </a:r>
            <a:r>
              <a:rPr lang="ru-RU" sz="1400" dirty="0">
                <a:solidFill>
                  <a:srgbClr val="FF0000"/>
                </a:solidFill>
                <a:latin typeface="customFont"/>
              </a:rPr>
              <a:t>Правил выдачи работникам</a:t>
            </a:r>
            <a:r>
              <a:rPr lang="ru-RU" sz="1400" dirty="0">
                <a:solidFill>
                  <a:srgbClr val="444444"/>
                </a:solidFill>
                <a:latin typeface="customFont"/>
              </a:rPr>
              <a:t> молока или равноценных пищевых продуктов и (или) специализированных продуктов для диетического (лечебного и профилактического) питания, </a:t>
            </a:r>
            <a:r>
              <a:rPr lang="ru-RU" sz="1400" dirty="0">
                <a:solidFill>
                  <a:srgbClr val="FF0000"/>
                </a:solidFill>
                <a:latin typeface="customFont"/>
              </a:rPr>
              <a:t>специальной одежды и других средств индивидуальной защиты, </a:t>
            </a:r>
            <a:r>
              <a:rPr lang="ru-RU" sz="1400" dirty="0">
                <a:solidFill>
                  <a:srgbClr val="444444"/>
                </a:solidFill>
                <a:latin typeface="customFont"/>
              </a:rPr>
              <a:t>обеспечения их средствами коллективной защиты, санитарно-бытовыми помещениями и устройствами за счет средств работодателя</a:t>
            </a:r>
            <a:endParaRPr lang="ru-RU" sz="1400" dirty="0">
              <a:solidFill>
                <a:srgbClr val="444444"/>
              </a:solidFill>
              <a:latin typeface="customFont"/>
            </a:endParaRPr>
          </a:p>
        </p:txBody>
      </p:sp>
      <p:sp>
        <p:nvSpPr>
          <p:cNvPr id="11" name="Стрелка вправо 10"/>
          <p:cNvSpPr/>
          <p:nvPr/>
        </p:nvSpPr>
        <p:spPr>
          <a:xfrm>
            <a:off x="5265956" y="1105257"/>
            <a:ext cx="1195754" cy="103163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12" name="Прямоугольник 11"/>
          <p:cNvSpPr/>
          <p:nvPr/>
        </p:nvSpPr>
        <p:spPr>
          <a:xfrm>
            <a:off x="6745262" y="1100658"/>
            <a:ext cx="45720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3C4388"/>
                </a:solidFill>
              </a:rPr>
              <a:t>ПРАВИЛА ОБЕСПЕЧЕНИЯ РАБОТНИКОВ СПЕЦИАЛЬНОЙ ОДЕЖДОЙ И ДРУГИМИ СРЕДСТВАМИ ИНДИВИДУАЛЬНОЙ ЗАЩИТЫ ЗА СЧЕТ СРЕДСТВ РАБОТОДАТЕЛЯ</a:t>
            </a:r>
            <a:endParaRPr lang="ru-RU" sz="1400" b="1" dirty="0">
              <a:solidFill>
                <a:srgbClr val="3C4388"/>
              </a:solidFill>
            </a:endParaRPr>
          </a:p>
        </p:txBody>
      </p:sp>
      <p:sp>
        <p:nvSpPr>
          <p:cNvPr id="27" name="Стрелка вправо 26"/>
          <p:cNvSpPr/>
          <p:nvPr/>
        </p:nvSpPr>
        <p:spPr>
          <a:xfrm>
            <a:off x="6257649" y="2477925"/>
            <a:ext cx="1195754" cy="1031630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28" name="Прямоугольник 27"/>
          <p:cNvSpPr/>
          <p:nvPr/>
        </p:nvSpPr>
        <p:spPr>
          <a:xfrm>
            <a:off x="7768820" y="2353696"/>
            <a:ext cx="45720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3C4388"/>
                </a:solidFill>
              </a:rPr>
              <a:t>ПРАВИЛА ОБЕСПЕЧЕНИЯ РАБОТНИКОВ СПЕЦИАЛЬНОЙ ОДЕЖДОЙ И ДРУГИМИ СРЕДСТВАМИ ИНДИВИДУАЛЬНОЙ,</a:t>
            </a:r>
            <a:r>
              <a:rPr lang="ru-RU" sz="1400" dirty="0">
                <a:solidFill>
                  <a:srgbClr val="0070C0"/>
                </a:solidFill>
              </a:rPr>
              <a:t> </a:t>
            </a:r>
            <a:r>
              <a:rPr lang="ru-RU" sz="1400" i="1" dirty="0">
                <a:solidFill>
                  <a:srgbClr val="0070C0"/>
                </a:solidFill>
              </a:rPr>
              <a:t>КОЛЛЕКТИВНОЙ ЗАЩИТЫ И САНИТАРНО-БЫТОВЫМИ ПОМЕЩЕНИЯМИ И УСТРОЙСТВАМИ </a:t>
            </a:r>
            <a:r>
              <a:rPr lang="ru-RU" sz="1400" dirty="0">
                <a:solidFill>
                  <a:srgbClr val="3C4388"/>
                </a:solidFill>
              </a:rPr>
              <a:t>ЗА СЧЕТ СРЕДСТВ РАБОТОДАТЕЛЯ</a:t>
            </a:r>
            <a:endParaRPr lang="ru-RU" sz="1400" dirty="0">
              <a:solidFill>
                <a:srgbClr val="3C4388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56186" y="6418688"/>
            <a:ext cx="120278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i="1" dirty="0" smtClean="0">
                <a:solidFill>
                  <a:schemeClr val="accent5"/>
                </a:solidFill>
              </a:rPr>
              <a:t>* </a:t>
            </a:r>
            <a:r>
              <a:rPr lang="ru-RU" i="1" dirty="0" smtClean="0">
                <a:solidFill>
                  <a:schemeClr val="accent5"/>
                </a:solidFill>
              </a:rPr>
              <a:t> </a:t>
            </a:r>
            <a:r>
              <a:rPr lang="ru-RU" i="1" dirty="0">
                <a:solidFill>
                  <a:schemeClr val="accent5"/>
                </a:solidFill>
              </a:rPr>
              <a:t>Потребуется внесение изменений и дополнений в статью 16 Трудового Кодекса в части компетенций МТСЗН РК</a:t>
            </a:r>
            <a:endParaRPr lang="ru-RU" i="1" dirty="0">
              <a:solidFill>
                <a:schemeClr val="accent5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39970" y="5136061"/>
            <a:ext cx="1133621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444444"/>
                </a:solidFill>
                <a:latin typeface="customFont"/>
              </a:rPr>
              <a:t>Правила определяют порядок обеспечения средствами индивидуальной защиты работников, занятых на работах, осуществляемых в условиях воздействия вредных и (или) опасных производственных факторов, </a:t>
            </a:r>
            <a:r>
              <a:rPr lang="ru-RU" dirty="0">
                <a:solidFill>
                  <a:srgbClr val="3C4388"/>
                </a:solidFill>
                <a:latin typeface="customFont"/>
              </a:rPr>
              <a:t>профессиональных рисков, а также на работах, связанных с производственным загрязнением</a:t>
            </a:r>
            <a:r>
              <a:rPr lang="ru-RU" dirty="0">
                <a:solidFill>
                  <a:srgbClr val="444444"/>
                </a:solidFill>
                <a:latin typeface="customFont"/>
              </a:rPr>
              <a:t> независимо от вида деятельности, формы собственности и размерности организации</a:t>
            </a:r>
            <a:endParaRPr lang="ru-RU" dirty="0">
              <a:solidFill>
                <a:srgbClr val="444444"/>
              </a:solidFill>
              <a:latin typeface="customFont"/>
            </a:endParaRPr>
          </a:p>
        </p:txBody>
      </p:sp>
      <p:sp>
        <p:nvSpPr>
          <p:cNvPr id="15" name="Стрелка вправо 14"/>
          <p:cNvSpPr/>
          <p:nvPr/>
        </p:nvSpPr>
        <p:spPr>
          <a:xfrm>
            <a:off x="6257649" y="3593905"/>
            <a:ext cx="1195754" cy="1031630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16" name="Прямоугольник 15"/>
          <p:cNvSpPr/>
          <p:nvPr/>
        </p:nvSpPr>
        <p:spPr>
          <a:xfrm>
            <a:off x="7789405" y="3509555"/>
            <a:ext cx="45720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3C4388"/>
                </a:solidFill>
              </a:rPr>
              <a:t>ПРАВИЛА ОБЕСПЕЧЕНИЯ РАБОТНИКОВ  МОЛОКОМ ИЛИ РАВНОЦЕННЫМИ ПИЩЕВЫМИ ПРОДУКТАМИ И (ИЛИ) СПЕЦИАЛИЗИРОВАННЫМИ ПРОДУКТАМИ ДЛЯ ДИЕТИЧЕСКОГО (ЛЕЧЕБНОГО И ПРОФИЛАКТИЧЕСКОГО) ПИТАНИЯ ЗА СЧЕТ СРЕДСТВ РАБОТОДАТЕЛЯ</a:t>
            </a:r>
            <a:endParaRPr lang="ru-RU" sz="1400" dirty="0">
              <a:solidFill>
                <a:srgbClr val="3C4388"/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5158154" y="2353696"/>
            <a:ext cx="671952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8456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561" y="675346"/>
            <a:ext cx="8730301" cy="5339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endParaRPr lang="ru-RU" sz="2000" dirty="0">
              <a:solidFill>
                <a:srgbClr val="3C4388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2000" dirty="0">
                <a:solidFill>
                  <a:srgbClr val="0070C0"/>
                </a:solidFill>
              </a:rPr>
              <a:t>ОСНОВНЫЕ ПОЛОЖЕНИЯ</a:t>
            </a:r>
            <a:r>
              <a:rPr lang="ru-RU" sz="2000" dirty="0">
                <a:solidFill>
                  <a:srgbClr val="3C4388"/>
                </a:solidFill>
              </a:rPr>
              <a:t>, </a:t>
            </a:r>
            <a:r>
              <a:rPr lang="ru-RU" sz="2000" dirty="0"/>
              <a:t>включая основные понятия, используемые в Правилах; </a:t>
            </a:r>
          </a:p>
          <a:p>
            <a:pPr>
              <a:spcBef>
                <a:spcPts val="600"/>
              </a:spcBef>
            </a:pPr>
            <a:r>
              <a:rPr lang="ru-RU" sz="2000" dirty="0">
                <a:solidFill>
                  <a:srgbClr val="0070C0"/>
                </a:solidFill>
              </a:rPr>
              <a:t>ПОРЯДОК ВЫБОРА</a:t>
            </a:r>
            <a:r>
              <a:rPr lang="ru-RU" sz="2000" dirty="0"/>
              <a:t>, включая определение потребности в  СИЗ с  соответствующими качественными и защитными характеристиками, а также сроками носки (эксплуатации) для каждого рабочего места</a:t>
            </a:r>
          </a:p>
          <a:p>
            <a:pPr>
              <a:spcBef>
                <a:spcPts val="600"/>
              </a:spcBef>
            </a:pPr>
            <a:r>
              <a:rPr lang="ru-RU" sz="2000" dirty="0">
                <a:solidFill>
                  <a:srgbClr val="0070C0"/>
                </a:solidFill>
              </a:rPr>
              <a:t>ПОРЯДОК ОБЕСПЕЧЕНИЯ СИЗ</a:t>
            </a:r>
            <a:r>
              <a:rPr lang="ru-RU" sz="2000" dirty="0"/>
              <a:t>, включая порядок эксплуатации, ремонта, ухода и хранения специальной одежды и других средств индивидуальной защиты</a:t>
            </a:r>
          </a:p>
          <a:p>
            <a:pPr>
              <a:spcBef>
                <a:spcPts val="600"/>
              </a:spcBef>
            </a:pPr>
            <a:r>
              <a:rPr lang="ru-RU" sz="2000" dirty="0">
                <a:solidFill>
                  <a:srgbClr val="0070C0"/>
                </a:solidFill>
              </a:rPr>
              <a:t>ПРИЛОЖЕНИЯ: </a:t>
            </a:r>
          </a:p>
          <a:p>
            <a:pPr>
              <a:spcBef>
                <a:spcPts val="600"/>
              </a:spcBef>
            </a:pPr>
            <a:r>
              <a:rPr lang="ru-RU" dirty="0"/>
              <a:t>1) Перечень СИЗ с указанием вредных факторов и рисков их возникновения, наименований СИЗ и сроков их носки (эксплуатации); </a:t>
            </a:r>
          </a:p>
          <a:p>
            <a:pPr>
              <a:spcBef>
                <a:spcPts val="600"/>
              </a:spcBef>
            </a:pPr>
            <a:r>
              <a:rPr lang="ru-RU" dirty="0"/>
              <a:t>2) Форма для оформления норм обеспечения СИЗ, утверждаемых работодателем по согласованию с Производственным советом или иным коллегиальным органом с включением представителей работников; </a:t>
            </a:r>
          </a:p>
          <a:p>
            <a:pPr>
              <a:spcBef>
                <a:spcPts val="600"/>
              </a:spcBef>
            </a:pPr>
            <a:r>
              <a:rPr lang="ru-RU" dirty="0"/>
              <a:t>3) Форма карточки учета выдачи СИЗ, с рекомендацией к автоматизации данного процесса.</a:t>
            </a:r>
            <a:endParaRPr lang="ru-RU" sz="1600" dirty="0"/>
          </a:p>
        </p:txBody>
      </p:sp>
      <p:sp>
        <p:nvSpPr>
          <p:cNvPr id="3" name="TextBox 33"/>
          <p:cNvSpPr txBox="1">
            <a:spLocks noChangeArrowheads="1"/>
          </p:cNvSpPr>
          <p:nvPr/>
        </p:nvSpPr>
        <p:spPr bwMode="auto">
          <a:xfrm>
            <a:off x="11411841" y="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en-US" altLang="ru-RU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altLang="ru-RU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altLang="ru-RU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Группа 34"/>
          <p:cNvGrpSpPr>
            <a:grpSpLocks/>
          </p:cNvGrpSpPr>
          <p:nvPr/>
        </p:nvGrpSpPr>
        <p:grpSpPr bwMode="auto">
          <a:xfrm>
            <a:off x="13161" y="675346"/>
            <a:ext cx="12192000" cy="46037"/>
            <a:chOff x="0" y="661986"/>
            <a:chExt cx="12192000" cy="45720"/>
          </a:xfrm>
        </p:grpSpPr>
        <p:sp>
          <p:nvSpPr>
            <p:cNvPr id="5" name="Прямоугольник 4"/>
            <p:cNvSpPr/>
            <p:nvPr/>
          </p:nvSpPr>
          <p:spPr>
            <a:xfrm>
              <a:off x="0" y="661986"/>
              <a:ext cx="10263187" cy="45720"/>
            </a:xfrm>
            <a:prstGeom prst="rect">
              <a:avLst/>
            </a:prstGeom>
            <a:solidFill>
              <a:srgbClr val="3E22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10863262" y="661986"/>
              <a:ext cx="1328738" cy="45720"/>
            </a:xfrm>
            <a:prstGeom prst="rect">
              <a:avLst/>
            </a:prstGeom>
            <a:solidFill>
              <a:srgbClr val="7371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9" name="Прямоугольник 8"/>
          <p:cNvSpPr/>
          <p:nvPr/>
        </p:nvSpPr>
        <p:spPr>
          <a:xfrm>
            <a:off x="8768862" y="944543"/>
            <a:ext cx="3423138" cy="489364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3C4388"/>
                </a:solidFill>
              </a:rPr>
              <a:t>Перечень СИЗ </a:t>
            </a:r>
            <a:r>
              <a:rPr lang="ru-RU" sz="1200" dirty="0"/>
              <a:t>- список средств индивидуальной защиты, отвечающих требованиям национальных и международных стандартов, норм, а также степени профессионального риска в зависимости от вредных производственных факторов с указанием сроков носки (эксплуатации)</a:t>
            </a:r>
          </a:p>
          <a:p>
            <a:pPr lvl="0"/>
            <a:r>
              <a:rPr lang="ru-RU" sz="1200" b="1" dirty="0">
                <a:solidFill>
                  <a:srgbClr val="3C4388"/>
                </a:solidFill>
              </a:rPr>
              <a:t>Нормы выдачи СИЗ </a:t>
            </a:r>
            <a:r>
              <a:rPr lang="ru-RU" sz="1200" dirty="0"/>
              <a:t>- нормы выдачи специальной одежды и других средств индивидуальной защиты работникам организаций различных видов экономической деятельности, утвержденные отраслевым уполномоченным органом;</a:t>
            </a:r>
          </a:p>
          <a:p>
            <a:pPr lvl="0"/>
            <a:r>
              <a:rPr lang="ru-RU" sz="1200" b="1" dirty="0">
                <a:solidFill>
                  <a:srgbClr val="3C4388"/>
                </a:solidFill>
              </a:rPr>
              <a:t>Производственный совет </a:t>
            </a:r>
            <a:r>
              <a:rPr lang="ru-RU" sz="1200" dirty="0"/>
              <a:t>– коллегиальный орган, создаваемый по инициативе работодателя и (или) работников либо их представителей, который организует совместные действия работодателя и работников по обеспечению требований безопасности и охраны труда, предупреждению производственного травматизма и профессиональных заболеваний;</a:t>
            </a:r>
          </a:p>
          <a:p>
            <a:pPr lvl="0"/>
            <a:r>
              <a:rPr lang="ru-RU" sz="1200" b="1" dirty="0">
                <a:solidFill>
                  <a:srgbClr val="3C4388"/>
                </a:solidFill>
              </a:rPr>
              <a:t>Локальные нормы СИЗ </a:t>
            </a:r>
            <a:r>
              <a:rPr lang="ru-RU" sz="1200" dirty="0"/>
              <a:t>– нормы выдачи специальной одежды и других средств индивидуальной защиты работникам организаций для каждого рабочего места, утверждаемые актом работодателя.</a:t>
            </a:r>
            <a:endParaRPr lang="ru-RU" sz="1400" dirty="0"/>
          </a:p>
        </p:txBody>
      </p:sp>
      <p:sp>
        <p:nvSpPr>
          <p:cNvPr id="10" name="TextBox 22">
            <a:extLst>
              <a:ext uri="{FF2B5EF4-FFF2-40B4-BE49-F238E27FC236}">
                <a16:creationId xmlns="" xmlns:a16="http://schemas.microsoft.com/office/drawing/2014/main" id="{1F55EADD-8A59-C63B-2307-A6C92F4C9A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561" y="-993"/>
            <a:ext cx="10718800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None/>
              <a:defRPr/>
            </a:pPr>
            <a:r>
              <a:rPr lang="ru-RU" sz="1800" spc="-1" dirty="0">
                <a:solidFill>
                  <a:srgbClr val="3C4388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itchFamily="34" charset="0"/>
              </a:rPr>
              <a:t>ПРАВИЛА ОБЕСПЕЧЕНИЯ РАБОТНИКОВ СПЕЦИАЛЬНОЙ ОДЕЖДОЙ И ДРУГИМИ СРЕДСТВАМИ ИНДИВИДУАЛЬНОЙ ЗАЩИТЫ ЗА СЧЕТ СРЕДСТВ РАБОТОДАТЕЛЯ</a:t>
            </a:r>
            <a:endParaRPr lang="ru-RU" sz="1800" spc="-1" dirty="0">
              <a:solidFill>
                <a:srgbClr val="3C4388"/>
              </a:solidFill>
              <a:uFill>
                <a:solidFill>
                  <a:srgbClr val="FFFFFF"/>
                </a:solidFill>
              </a:uFill>
              <a:latin typeface="Century Gothic" panose="020B0502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7836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536215" y="1451032"/>
            <a:ext cx="11339262" cy="50629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buClr>
                <a:srgbClr val="3C4388"/>
              </a:buClr>
              <a:buSzPct val="104000"/>
              <a:buFont typeface="+mj-lt"/>
              <a:buAutoNum type="arabicPeriod"/>
            </a:pPr>
            <a:r>
              <a:rPr lang="ru-RU" dirty="0"/>
              <a:t>Изложен новый механизм определения потребности, основанный </a:t>
            </a:r>
            <a:r>
              <a:rPr lang="ru-RU" b="1" dirty="0">
                <a:solidFill>
                  <a:srgbClr val="3C4388"/>
                </a:solidFill>
              </a:rPr>
              <a:t>на результатах оценки профессиональных рисков </a:t>
            </a:r>
            <a:r>
              <a:rPr lang="ru-RU" dirty="0"/>
              <a:t>и представляющий возможность работодателю самостоятельно, </a:t>
            </a:r>
            <a:r>
              <a:rPr lang="ru-RU" b="1" dirty="0">
                <a:solidFill>
                  <a:srgbClr val="3C4388"/>
                </a:solidFill>
              </a:rPr>
              <a:t>с обязательным учетом мнения представителей работников</a:t>
            </a:r>
            <a:r>
              <a:rPr lang="ru-RU" dirty="0"/>
              <a:t>, составлять и утверждать локальные нормы СИЗ. </a:t>
            </a:r>
          </a:p>
          <a:p>
            <a:pPr marL="342900" indent="-342900">
              <a:spcBef>
                <a:spcPts val="600"/>
              </a:spcBef>
              <a:buClr>
                <a:srgbClr val="3C4388"/>
              </a:buClr>
              <a:buSzPct val="104000"/>
              <a:buFont typeface="+mj-lt"/>
              <a:buAutoNum type="arabicPeriod"/>
            </a:pPr>
            <a:r>
              <a:rPr lang="ru-RU" dirty="0"/>
              <a:t>Описано использование результатов выявления </a:t>
            </a:r>
            <a:r>
              <a:rPr lang="ru-RU" b="1" dirty="0">
                <a:solidFill>
                  <a:srgbClr val="3C4388"/>
                </a:solidFill>
              </a:rPr>
              <a:t>вредных факторов и рисков</a:t>
            </a:r>
            <a:r>
              <a:rPr lang="ru-RU" b="1" dirty="0"/>
              <a:t> </a:t>
            </a:r>
            <a:r>
              <a:rPr lang="ru-RU" dirty="0"/>
              <a:t>в зависимости от степени их воздействия </a:t>
            </a:r>
            <a:r>
              <a:rPr lang="ru-RU" b="1" dirty="0">
                <a:solidFill>
                  <a:srgbClr val="3C4388"/>
                </a:solidFill>
              </a:rPr>
              <a:t>для формирования комплекта СИЗ</a:t>
            </a:r>
          </a:p>
          <a:p>
            <a:pPr marL="342900" indent="-342900">
              <a:spcBef>
                <a:spcPts val="600"/>
              </a:spcBef>
              <a:buClr>
                <a:srgbClr val="3C4388"/>
              </a:buClr>
              <a:buSzPct val="104000"/>
              <a:buFont typeface="+mj-lt"/>
              <a:buAutoNum type="arabicPeriod"/>
            </a:pPr>
            <a:r>
              <a:rPr lang="ru-RU" dirty="0"/>
              <a:t>Действующие нормы выдачи СИЗ применяются </a:t>
            </a:r>
            <a:r>
              <a:rPr lang="ru-RU" b="1" dirty="0">
                <a:solidFill>
                  <a:srgbClr val="3C4388"/>
                </a:solidFill>
              </a:rPr>
              <a:t>для выбора дополнительных СИЗ</a:t>
            </a:r>
            <a:r>
              <a:rPr lang="ru-RU" dirty="0"/>
              <a:t>, которые необходимы, но не учтены из-за различных причин, включая некачественную оценку профессиональных рисков. </a:t>
            </a:r>
          </a:p>
          <a:p>
            <a:pPr marL="342900" indent="-342900">
              <a:spcBef>
                <a:spcPts val="600"/>
              </a:spcBef>
              <a:buClr>
                <a:srgbClr val="3C4388"/>
              </a:buClr>
              <a:buSzPct val="104000"/>
              <a:buFont typeface="+mj-lt"/>
              <a:buAutoNum type="arabicPeriod"/>
            </a:pPr>
            <a:r>
              <a:rPr lang="ru-RU" dirty="0"/>
              <a:t>Предусмотрена </a:t>
            </a:r>
            <a:r>
              <a:rPr lang="ru-RU" b="1" dirty="0">
                <a:solidFill>
                  <a:srgbClr val="3C4388"/>
                </a:solidFill>
              </a:rPr>
              <a:t>возможность замены </a:t>
            </a:r>
            <a:r>
              <a:rPr lang="ru-RU" dirty="0"/>
              <a:t>в рамках одного вида СИЗ с улучшенными свойствами.</a:t>
            </a:r>
          </a:p>
          <a:p>
            <a:pPr marL="342900" indent="-342900">
              <a:spcBef>
                <a:spcPts val="600"/>
              </a:spcBef>
              <a:buClr>
                <a:srgbClr val="3C4388"/>
              </a:buClr>
              <a:buSzPct val="104000"/>
              <a:buFont typeface="+mj-lt"/>
              <a:buAutoNum type="arabicPeriod"/>
            </a:pPr>
            <a:r>
              <a:rPr lang="ru-RU" dirty="0"/>
              <a:t>Придана </a:t>
            </a:r>
            <a:r>
              <a:rPr lang="ru-RU" b="1" dirty="0">
                <a:solidFill>
                  <a:srgbClr val="3C4388"/>
                </a:solidFill>
              </a:rPr>
              <a:t>большая вариабельность сроков носки (эксплуатации) СИЗ </a:t>
            </a:r>
            <a:r>
              <a:rPr lang="ru-RU" dirty="0"/>
              <a:t>(с учетом неполной занятости, выполнения руководящих функций, совмещения, сезонности и т.д.). </a:t>
            </a:r>
          </a:p>
          <a:p>
            <a:pPr marL="342900" indent="-342900">
              <a:spcBef>
                <a:spcPts val="600"/>
              </a:spcBef>
              <a:buClr>
                <a:srgbClr val="3C4388"/>
              </a:buClr>
              <a:buSzPct val="104000"/>
              <a:buFont typeface="+mj-lt"/>
              <a:buAutoNum type="arabicPeriod"/>
            </a:pPr>
            <a:r>
              <a:rPr lang="ru-RU" dirty="0"/>
              <a:t>Предусмотрено </a:t>
            </a:r>
            <a:r>
              <a:rPr lang="ru-RU" b="1" dirty="0">
                <a:solidFill>
                  <a:srgbClr val="3C4388"/>
                </a:solidFill>
              </a:rPr>
              <a:t>обязательное обучение</a:t>
            </a:r>
            <a:r>
              <a:rPr lang="ru-RU" dirty="0"/>
              <a:t> конструктивным особенностям, правилам пользования и простейшим способам проверки работоспособности и исправности СИЗ. </a:t>
            </a:r>
          </a:p>
          <a:p>
            <a:pPr marL="342900" indent="-342900">
              <a:spcBef>
                <a:spcPts val="600"/>
              </a:spcBef>
              <a:buClr>
                <a:srgbClr val="3C4388"/>
              </a:buClr>
              <a:buSzPct val="104000"/>
              <a:buFont typeface="+mj-lt"/>
              <a:buAutoNum type="arabicPeriod"/>
            </a:pPr>
            <a:r>
              <a:rPr lang="ru-RU" dirty="0"/>
              <a:t>Приведены </a:t>
            </a:r>
            <a:r>
              <a:rPr lang="ru-RU" b="1" dirty="0">
                <a:solidFill>
                  <a:srgbClr val="3C4388"/>
                </a:solidFill>
              </a:rPr>
              <a:t>требования к наличию маркировки,</a:t>
            </a:r>
            <a:r>
              <a:rPr lang="ru-RU" dirty="0"/>
              <a:t> инструкций и срока службы СИЗ, правил эксплуатации и хранения.</a:t>
            </a:r>
          </a:p>
          <a:p>
            <a:pPr marL="342900" indent="-342900">
              <a:spcBef>
                <a:spcPts val="600"/>
              </a:spcBef>
              <a:buClr>
                <a:srgbClr val="3C4388"/>
              </a:buClr>
              <a:buSzPct val="104000"/>
              <a:buFont typeface="+mj-lt"/>
              <a:buAutoNum type="arabicPeriod"/>
            </a:pPr>
            <a:r>
              <a:rPr lang="ru-RU" dirty="0"/>
              <a:t>Введен порядок выдачи отдельных СИЗ посредством </a:t>
            </a:r>
            <a:r>
              <a:rPr lang="ru-RU" b="1" dirty="0">
                <a:solidFill>
                  <a:srgbClr val="3C4388"/>
                </a:solidFill>
              </a:rPr>
              <a:t>автоматизированных систем выдачи </a:t>
            </a:r>
            <a:r>
              <a:rPr lang="ru-RU" dirty="0"/>
              <a:t>(</a:t>
            </a:r>
            <a:r>
              <a:rPr lang="ru-RU" dirty="0" err="1"/>
              <a:t>вендингового</a:t>
            </a:r>
            <a:r>
              <a:rPr lang="ru-RU" dirty="0"/>
              <a:t> оборудования) с обеспечением персонификации работника.</a:t>
            </a:r>
            <a:endParaRPr lang="ru-RU" dirty="0"/>
          </a:p>
        </p:txBody>
      </p:sp>
      <p:sp>
        <p:nvSpPr>
          <p:cNvPr id="3" name="TextBox 33"/>
          <p:cNvSpPr txBox="1">
            <a:spLocks noChangeArrowheads="1"/>
          </p:cNvSpPr>
          <p:nvPr/>
        </p:nvSpPr>
        <p:spPr bwMode="auto">
          <a:xfrm>
            <a:off x="11411841" y="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en-US" altLang="ru-RU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altLang="ru-RU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altLang="ru-RU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Группа 34"/>
          <p:cNvGrpSpPr>
            <a:grpSpLocks/>
          </p:cNvGrpSpPr>
          <p:nvPr/>
        </p:nvGrpSpPr>
        <p:grpSpPr bwMode="auto">
          <a:xfrm>
            <a:off x="13161" y="675346"/>
            <a:ext cx="12192000" cy="46037"/>
            <a:chOff x="0" y="661986"/>
            <a:chExt cx="12192000" cy="45720"/>
          </a:xfrm>
        </p:grpSpPr>
        <p:sp>
          <p:nvSpPr>
            <p:cNvPr id="5" name="Прямоугольник 4"/>
            <p:cNvSpPr/>
            <p:nvPr/>
          </p:nvSpPr>
          <p:spPr>
            <a:xfrm>
              <a:off x="0" y="661986"/>
              <a:ext cx="10263187" cy="45720"/>
            </a:xfrm>
            <a:prstGeom prst="rect">
              <a:avLst/>
            </a:prstGeom>
            <a:solidFill>
              <a:srgbClr val="3E22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10863262" y="661986"/>
              <a:ext cx="1328738" cy="45720"/>
            </a:xfrm>
            <a:prstGeom prst="rect">
              <a:avLst/>
            </a:prstGeom>
            <a:solidFill>
              <a:srgbClr val="7371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7" name="TextBox 22">
            <a:extLst>
              <a:ext uri="{FF2B5EF4-FFF2-40B4-BE49-F238E27FC236}">
                <a16:creationId xmlns="" xmlns:a16="http://schemas.microsoft.com/office/drawing/2014/main" id="{1F55EADD-8A59-C63B-2307-A6C92F4C9A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561" y="48154"/>
            <a:ext cx="10718800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None/>
              <a:defRPr/>
            </a:pPr>
            <a:r>
              <a:rPr lang="ru-RU" sz="1800" spc="-1" dirty="0">
                <a:solidFill>
                  <a:srgbClr val="0070C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itchFamily="34" charset="0"/>
              </a:rPr>
              <a:t>ПРАВИЛА ОБЕСПЕЧЕНИЯ РАБОТНИКОВ СПЕЦИАЛЬНОЙ ОДЕЖДОЙ И ДРУГИМИ СРЕДСТВАМИ ИНДИВИДУАЛЬНОЙ ЗАЩИТЫ ЗА СЧЕТ СРЕДСТВ РАБОТОДАТЕЛЯ</a:t>
            </a:r>
            <a:endParaRPr lang="ru-RU" sz="1800" spc="-1" dirty="0">
              <a:solidFill>
                <a:srgbClr val="0070C0"/>
              </a:solidFill>
              <a:uFill>
                <a:solidFill>
                  <a:srgbClr val="FFFFFF"/>
                </a:solidFill>
              </a:u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23912" y="999402"/>
            <a:ext cx="7499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5B9BD5"/>
                </a:solidFill>
              </a:rPr>
              <a:t>НОВШЕСТВА</a:t>
            </a:r>
            <a:endParaRPr lang="ru-RU" b="1" dirty="0">
              <a:solidFill>
                <a:srgbClr val="5B9BD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800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303909" y="1624663"/>
            <a:ext cx="11791922" cy="2550670"/>
          </a:xfrm>
          <a:prstGeom prst="rect">
            <a:avLst/>
          </a:prstGeom>
          <a:solidFill>
            <a:srgbClr val="C9CB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00" name="TextBox 22"/>
          <p:cNvSpPr txBox="1">
            <a:spLocks noChangeArrowheads="1"/>
          </p:cNvSpPr>
          <p:nvPr/>
        </p:nvSpPr>
        <p:spPr bwMode="auto">
          <a:xfrm>
            <a:off x="125437" y="-36000"/>
            <a:ext cx="11408128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>
              <a:buNone/>
              <a:defRPr/>
            </a:pPr>
            <a:r>
              <a:rPr lang="ru-RU" sz="1600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itchFamily="34" charset="0"/>
              </a:rPr>
              <a:t>МОДЕЛЬНЫЕ СИТУАЦИИ ОБЕСПЕЧЕНИЯ СИЗ В ЗАВИСИМОСТИ ОТ РЕЗУЛЬТАТОВ ОЦЕНКИ ПРОФЕССИОНАЛЬНЫХ РИСКОВ</a:t>
            </a:r>
            <a:endParaRPr lang="ru-RU" sz="1600" spc="-1" dirty="0">
              <a:solidFill>
                <a:srgbClr val="002060"/>
              </a:solidFill>
              <a:uFill>
                <a:solidFill>
                  <a:srgbClr val="FFFFFF"/>
                </a:solidFill>
              </a:uFill>
              <a:latin typeface="Bahnschrift" panose="020B0502040204020203" pitchFamily="34" charset="0"/>
              <a:cs typeface="Arial" pitchFamily="34" charset="0"/>
            </a:endParaRPr>
          </a:p>
        </p:txBody>
      </p:sp>
      <p:sp>
        <p:nvSpPr>
          <p:cNvPr id="29" name="ee4pHeader1">
            <a:extLst>
              <a:ext uri="{FF2B5EF4-FFF2-40B4-BE49-F238E27FC236}">
                <a16:creationId xmlns="" xmlns:a16="http://schemas.microsoft.com/office/drawing/2014/main" id="{5997E8DD-F419-0EA4-D55E-5148369FDFFB}"/>
              </a:ext>
            </a:extLst>
          </p:cNvPr>
          <p:cNvSpPr txBox="1"/>
          <p:nvPr/>
        </p:nvSpPr>
        <p:spPr>
          <a:xfrm>
            <a:off x="673564" y="533994"/>
            <a:ext cx="3442662" cy="456399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/>
          <a:lstStyle/>
          <a:p>
            <a:pPr marL="0" lvl="3" algn="ctr">
              <a:defRPr/>
            </a:pPr>
            <a:r>
              <a:rPr lang="ru-RU" sz="1200" b="1" dirty="0">
                <a:latin typeface="Century Gothic" panose="020B0502020202020204" pitchFamily="34" charset="0"/>
              </a:rPr>
              <a:t>ОПРЕДЕЛЕНИЕ ВХОДНЫХ ПАРАМЕТРОВ ВЫБОРА СИЗ</a:t>
            </a:r>
            <a:endParaRPr lang="ru-RU" sz="1200" b="1" i="1" dirty="0">
              <a:latin typeface="Century Gothic" panose="020B0502020202020204" pitchFamily="34" charset="0"/>
            </a:endParaRPr>
          </a:p>
        </p:txBody>
      </p:sp>
      <p:sp>
        <p:nvSpPr>
          <p:cNvPr id="40" name="ee4pHeader1">
            <a:extLst>
              <a:ext uri="{FF2B5EF4-FFF2-40B4-BE49-F238E27FC236}">
                <a16:creationId xmlns="" xmlns:a16="http://schemas.microsoft.com/office/drawing/2014/main" id="{EA925594-7046-667C-6794-C7C82CAFD22D}"/>
              </a:ext>
            </a:extLst>
          </p:cNvPr>
          <p:cNvSpPr txBox="1"/>
          <p:nvPr/>
        </p:nvSpPr>
        <p:spPr>
          <a:xfrm>
            <a:off x="4612578" y="579103"/>
            <a:ext cx="3512405" cy="441092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/>
          <a:lstStyle/>
          <a:p>
            <a:pPr marL="0" lvl="3" algn="ctr">
              <a:defRPr/>
            </a:pPr>
            <a:r>
              <a:rPr lang="ru-RU" sz="1100" b="1" dirty="0">
                <a:latin typeface="Century Gothic" panose="020B0502020202020204" pitchFamily="34" charset="0"/>
              </a:rPr>
              <a:t>ОПРЕДЕЛЕНИЕ ПЕРЕЧНЯ СИЗ ДЛЯ ВЫЯВЛЕННЫХ ВРЕДНЫХ/ОПАСНЫХ ФАКТОРОВ</a:t>
            </a:r>
            <a:endParaRPr lang="ru-RU" sz="1100" b="1" dirty="0">
              <a:latin typeface="Arial Narrow" panose="020B0606020202030204" pitchFamily="34" charset="0"/>
            </a:endParaRPr>
          </a:p>
        </p:txBody>
      </p:sp>
      <p:sp>
        <p:nvSpPr>
          <p:cNvPr id="41" name="ee4pHeader1">
            <a:extLst>
              <a:ext uri="{FF2B5EF4-FFF2-40B4-BE49-F238E27FC236}">
                <a16:creationId xmlns="" xmlns:a16="http://schemas.microsoft.com/office/drawing/2014/main" id="{E263AA14-7DA0-AFEB-539B-82B20D3D91B6}"/>
              </a:ext>
            </a:extLst>
          </p:cNvPr>
          <p:cNvSpPr txBox="1"/>
          <p:nvPr/>
        </p:nvSpPr>
        <p:spPr>
          <a:xfrm>
            <a:off x="8757321" y="556184"/>
            <a:ext cx="3258221" cy="441091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/>
          <a:lstStyle/>
          <a:p>
            <a:pPr marL="0" lvl="3" algn="ctr">
              <a:defRPr/>
            </a:pPr>
            <a:r>
              <a:rPr lang="ru-RU" sz="1100" b="1" dirty="0">
                <a:latin typeface="Century Gothic" panose="020B0502020202020204" pitchFamily="34" charset="0"/>
              </a:rPr>
              <a:t>ДОПОЛНЕНИЕ НА ОСНОВЕ </a:t>
            </a:r>
          </a:p>
          <a:p>
            <a:pPr marL="0" lvl="3" algn="ctr">
              <a:defRPr/>
            </a:pPr>
            <a:r>
              <a:rPr lang="ru-RU" sz="1100" b="1" dirty="0">
                <a:latin typeface="Century Gothic" panose="020B0502020202020204" pitchFamily="34" charset="0"/>
              </a:rPr>
              <a:t>ОТРАСЛЕВЫХ НПА</a:t>
            </a:r>
            <a:endParaRPr lang="ru-RU" sz="1100" b="1" dirty="0">
              <a:latin typeface="Century Gothic" panose="020B0502020202020204" pitchFamily="34" charset="0"/>
            </a:endParaRPr>
          </a:p>
        </p:txBody>
      </p:sp>
      <p:sp>
        <p:nvSpPr>
          <p:cNvPr id="2" name="Овал 1"/>
          <p:cNvSpPr/>
          <p:nvPr/>
        </p:nvSpPr>
        <p:spPr>
          <a:xfrm>
            <a:off x="338995" y="480686"/>
            <a:ext cx="287337" cy="287337"/>
          </a:xfrm>
          <a:prstGeom prst="ellipse">
            <a:avLst/>
          </a:prstGeom>
          <a:solidFill>
            <a:srgbClr val="295E7E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/>
              <a:t>1</a:t>
            </a:r>
          </a:p>
        </p:txBody>
      </p:sp>
      <p:sp>
        <p:nvSpPr>
          <p:cNvPr id="22" name="Овал 21"/>
          <p:cNvSpPr/>
          <p:nvPr/>
        </p:nvSpPr>
        <p:spPr>
          <a:xfrm>
            <a:off x="4431006" y="491128"/>
            <a:ext cx="287337" cy="288925"/>
          </a:xfrm>
          <a:prstGeom prst="ellipse">
            <a:avLst/>
          </a:prstGeom>
          <a:solidFill>
            <a:srgbClr val="295E7E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/>
              <a:t>2</a:t>
            </a:r>
          </a:p>
        </p:txBody>
      </p:sp>
      <p:sp>
        <p:nvSpPr>
          <p:cNvPr id="34" name="Овал 33"/>
          <p:cNvSpPr/>
          <p:nvPr/>
        </p:nvSpPr>
        <p:spPr>
          <a:xfrm>
            <a:off x="8475785" y="484890"/>
            <a:ext cx="287338" cy="287337"/>
          </a:xfrm>
          <a:prstGeom prst="ellipse">
            <a:avLst/>
          </a:prstGeom>
          <a:solidFill>
            <a:srgbClr val="295E7E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/>
              <a:t>3</a:t>
            </a:r>
          </a:p>
        </p:txBody>
      </p:sp>
      <p:sp>
        <p:nvSpPr>
          <p:cNvPr id="35" name="ee4pHeader1">
            <a:extLst>
              <a:ext uri="{FF2B5EF4-FFF2-40B4-BE49-F238E27FC236}">
                <a16:creationId xmlns="" xmlns:a16="http://schemas.microsoft.com/office/drawing/2014/main" id="{5997E8DD-F419-0EA4-D55E-5148369FDFFB}"/>
              </a:ext>
            </a:extLst>
          </p:cNvPr>
          <p:cNvSpPr txBox="1"/>
          <p:nvPr/>
        </p:nvSpPr>
        <p:spPr>
          <a:xfrm>
            <a:off x="460472" y="1075253"/>
            <a:ext cx="1942759" cy="322195"/>
          </a:xfrm>
          <a:prstGeom prst="rect">
            <a:avLst/>
          </a:prstGeom>
          <a:ln>
            <a:solidFill>
              <a:srgbClr val="295E7E"/>
            </a:solidFill>
            <a:prstDash val="sys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/>
          <a:lstStyle/>
          <a:p>
            <a:pPr marL="0" lvl="3" algn="ctr">
              <a:defRPr/>
            </a:pPr>
            <a:r>
              <a:rPr lang="ru-RU" sz="1050" b="1" i="1" kern="0" dirty="0">
                <a:solidFill>
                  <a:srgbClr val="3E226F"/>
                </a:solidFill>
                <a:latin typeface="Century Gothic" panose="020B0502020202020204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Производство строительных материалов </a:t>
            </a:r>
          </a:p>
          <a:p>
            <a:pPr marL="0" lvl="3">
              <a:defRPr/>
            </a:pPr>
            <a:endParaRPr lang="ru-RU" sz="1100" i="1" kern="0" dirty="0">
              <a:solidFill>
                <a:prstClr val="black"/>
              </a:solidFill>
              <a:latin typeface="Arial Narrow" panose="020B060602020203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4" name="ee4pHeader1">
            <a:extLst>
              <a:ext uri="{FF2B5EF4-FFF2-40B4-BE49-F238E27FC236}">
                <a16:creationId xmlns="" xmlns:a16="http://schemas.microsoft.com/office/drawing/2014/main" id="{5997E8DD-F419-0EA4-D55E-5148369FDFFB}"/>
              </a:ext>
            </a:extLst>
          </p:cNvPr>
          <p:cNvSpPr txBox="1"/>
          <p:nvPr/>
        </p:nvSpPr>
        <p:spPr>
          <a:xfrm>
            <a:off x="2403231" y="1129871"/>
            <a:ext cx="2344155" cy="158749"/>
          </a:xfrm>
          <a:prstGeom prst="rect">
            <a:avLst/>
          </a:prstGeom>
          <a:ln>
            <a:solidFill>
              <a:srgbClr val="295E7E"/>
            </a:solidFill>
            <a:prstDash val="sys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/>
          <a:lstStyle/>
          <a:p>
            <a:pPr marL="0" lvl="3" algn="ctr">
              <a:defRPr/>
            </a:pPr>
            <a:r>
              <a:rPr lang="ru-RU" sz="1000" b="1" i="1" kern="0" dirty="0">
                <a:solidFill>
                  <a:srgbClr val="3E226F"/>
                </a:solidFill>
                <a:latin typeface="Century Gothic" panose="020B0502020202020204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Электромонтер</a:t>
            </a:r>
          </a:p>
          <a:p>
            <a:pPr marL="0" lvl="3">
              <a:defRPr/>
            </a:pPr>
            <a:endParaRPr lang="ru-RU" sz="1050" i="1" kern="0" dirty="0">
              <a:solidFill>
                <a:prstClr val="black"/>
              </a:solidFill>
              <a:latin typeface="Arial Narrow" panose="020B060602020203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  <a:p>
            <a:pPr marL="0" lvl="3">
              <a:defRPr/>
            </a:pPr>
            <a:endParaRPr lang="ru-RU" sz="1050" i="1" kern="0" dirty="0">
              <a:solidFill>
                <a:prstClr val="black"/>
              </a:solidFill>
              <a:latin typeface="Arial Narrow" panose="020B060602020203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3" name="TextBox 33"/>
          <p:cNvSpPr txBox="1">
            <a:spLocks noChangeArrowheads="1"/>
          </p:cNvSpPr>
          <p:nvPr/>
        </p:nvSpPr>
        <p:spPr bwMode="auto">
          <a:xfrm>
            <a:off x="11411841" y="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endParaRPr lang="ru-RU" altLang="ru-RU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 rot="16200000">
            <a:off x="-2373572" y="3960311"/>
            <a:ext cx="51164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             </a:t>
            </a:r>
            <a:r>
              <a:rPr lang="ru-RU" smtClean="0"/>
              <a:t>2 </a:t>
            </a:r>
            <a:r>
              <a:rPr lang="ru-RU" smtClean="0"/>
              <a:t>вариант</a:t>
            </a:r>
            <a:r>
              <a:rPr lang="ru-RU" sz="700" smtClean="0"/>
              <a:t>                                                                                      </a:t>
            </a:r>
            <a:r>
              <a:rPr lang="ru-RU" smtClean="0"/>
              <a:t>1 </a:t>
            </a:r>
            <a:r>
              <a:rPr lang="ru-RU" smtClean="0"/>
              <a:t>вариант</a:t>
            </a:r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0618213"/>
              </p:ext>
            </p:extLst>
          </p:nvPr>
        </p:nvGraphicFramePr>
        <p:xfrm>
          <a:off x="393892" y="1716575"/>
          <a:ext cx="3816771" cy="23430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9487">
                  <a:extLst>
                    <a:ext uri="{9D8B030D-6E8A-4147-A177-3AD203B41FA5}">
                      <a16:colId xmlns="" xmlns:a16="http://schemas.microsoft.com/office/drawing/2014/main" val="3646076762"/>
                    </a:ext>
                  </a:extLst>
                </a:gridCol>
                <a:gridCol w="3317284">
                  <a:extLst>
                    <a:ext uri="{9D8B030D-6E8A-4147-A177-3AD203B41FA5}">
                      <a16:colId xmlns="" xmlns:a16="http://schemas.microsoft.com/office/drawing/2014/main" val="4091342844"/>
                    </a:ext>
                  </a:extLst>
                </a:gridCol>
              </a:tblGrid>
              <a:tr h="544711">
                <a:tc>
                  <a:txBody>
                    <a:bodyPr/>
                    <a:lstStyle/>
                    <a:p>
                      <a:r>
                        <a:rPr lang="ru-RU" sz="800" b="1" i="1" kern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4.3.1.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50" b="1" i="1" kern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Движущиеся и вращающиеся части оборудования, механизмов, машин </a:t>
                      </a:r>
                      <a:endParaRPr lang="ru-RU" sz="950" b="1" i="1" kern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Segoe UI Black" panose="020B0A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820434"/>
                  </a:ext>
                </a:extLst>
              </a:tr>
              <a:tr h="210633">
                <a:tc>
                  <a:txBody>
                    <a:bodyPr/>
                    <a:lstStyle/>
                    <a:p>
                      <a:r>
                        <a:rPr lang="ru-RU" sz="800" b="1" i="1" kern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1.1.1.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50" b="1" i="1" kern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Шум</a:t>
                      </a:r>
                      <a:endParaRPr lang="ru-RU" sz="950" b="1" i="1" kern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Segoe UI Black" panose="020B0A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3683694"/>
                  </a:ext>
                </a:extLst>
              </a:tr>
              <a:tr h="217675">
                <a:tc>
                  <a:txBody>
                    <a:bodyPr/>
                    <a:lstStyle/>
                    <a:p>
                      <a:r>
                        <a:rPr lang="ru-RU" sz="800" b="1" i="1" kern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1.8.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50" b="1" i="1" kern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Пыль общепромышленная, аэрозоли, пары</a:t>
                      </a:r>
                      <a:endParaRPr lang="ru-RU" sz="950" b="1" i="1" kern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Segoe UI Black" panose="020B0A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104425111"/>
                  </a:ext>
                </a:extLst>
              </a:tr>
              <a:tr h="342279">
                <a:tc>
                  <a:txBody>
                    <a:bodyPr/>
                    <a:lstStyle/>
                    <a:p>
                      <a:r>
                        <a:rPr lang="ru-RU" sz="800" b="1" i="1" kern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1.7.2.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algn="l">
                        <a:defRPr/>
                      </a:pPr>
                      <a:r>
                        <a:rPr lang="ru-RU" sz="950" b="1" i="1" kern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Пониженная температура</a:t>
                      </a:r>
                    </a:p>
                    <a:p>
                      <a:pPr marL="0" lvl="3" algn="l">
                        <a:defRPr/>
                      </a:pPr>
                      <a:r>
                        <a:rPr lang="ru-RU" sz="950" b="1" i="1" kern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(на открытой территорий)</a:t>
                      </a:r>
                      <a:endParaRPr lang="ru-RU" sz="950" b="1" i="1" kern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Segoe UI Black" panose="020B0A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258510158"/>
                  </a:ext>
                </a:extLst>
              </a:tr>
              <a:tr h="210633">
                <a:tc>
                  <a:txBody>
                    <a:bodyPr/>
                    <a:lstStyle/>
                    <a:p>
                      <a:r>
                        <a:rPr lang="ru-RU" sz="800" b="1" i="1" kern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4.1.1.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algn="l">
                        <a:defRPr/>
                      </a:pPr>
                      <a:r>
                        <a:rPr lang="ru-RU" sz="950" b="1" i="1" kern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Падение, обрушение, обвал предметов</a:t>
                      </a:r>
                      <a:endParaRPr lang="ru-RU" sz="950" b="1" i="1" kern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Segoe UI Black" panose="020B0A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866491291"/>
                  </a:ext>
                </a:extLst>
              </a:tr>
              <a:tr h="210633">
                <a:tc>
                  <a:txBody>
                    <a:bodyPr/>
                    <a:lstStyle/>
                    <a:p>
                      <a:r>
                        <a:rPr lang="ru-RU" sz="800" b="1" i="1" kern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6.1.1.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algn="l">
                        <a:defRPr/>
                      </a:pPr>
                      <a:r>
                        <a:rPr lang="ru-RU" sz="950" b="1" i="1" kern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Общие производственные</a:t>
                      </a:r>
                      <a:r>
                        <a:rPr lang="ru-RU" sz="950" b="1" i="1" kern="0" baseline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 загрязнения</a:t>
                      </a:r>
                      <a:endParaRPr lang="ru-RU" sz="950" b="1" i="1" kern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Segoe UI Black" panose="020B0A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0369574"/>
                  </a:ext>
                </a:extLst>
              </a:tr>
              <a:tr h="210633">
                <a:tc>
                  <a:txBody>
                    <a:bodyPr/>
                    <a:lstStyle/>
                    <a:p>
                      <a:r>
                        <a:rPr lang="ru-RU" sz="800" b="1" i="1" kern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4.1.1.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algn="l">
                        <a:defRPr/>
                      </a:pPr>
                      <a:r>
                        <a:rPr lang="ru-RU" sz="950" b="1" i="1" kern="0" dirty="0" smtClean="0">
                          <a:solidFill>
                            <a:srgbClr val="C00000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Падение</a:t>
                      </a:r>
                      <a:r>
                        <a:rPr lang="ru-RU" sz="950" b="1" i="1" kern="0" baseline="0" dirty="0" smtClean="0">
                          <a:solidFill>
                            <a:srgbClr val="C00000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 с высоты</a:t>
                      </a:r>
                      <a:endParaRPr lang="ru-RU" sz="950" b="1" i="1" kern="0" dirty="0">
                        <a:solidFill>
                          <a:srgbClr val="C00000"/>
                        </a:solidFill>
                        <a:latin typeface="Century Gothic" panose="020B0502020202020204" pitchFamily="34" charset="0"/>
                        <a:ea typeface="Segoe UI Black" panose="020B0A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54715244"/>
                  </a:ext>
                </a:extLst>
              </a:tr>
              <a:tr h="210633">
                <a:tc>
                  <a:txBody>
                    <a:bodyPr/>
                    <a:lstStyle/>
                    <a:p>
                      <a:r>
                        <a:rPr lang="ru-RU" sz="800" b="1" i="1" kern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1.5.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algn="l">
                        <a:defRPr/>
                      </a:pPr>
                      <a:r>
                        <a:rPr lang="kk-KZ" sz="950" b="1" i="1" kern="0" baseline="0" dirty="0" smtClean="0">
                          <a:solidFill>
                            <a:srgbClr val="C00000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Воздействие электрической дути</a:t>
                      </a:r>
                      <a:endParaRPr lang="ru-RU" sz="950" b="1" i="1" kern="0" dirty="0">
                        <a:solidFill>
                          <a:srgbClr val="C00000"/>
                        </a:solidFill>
                        <a:latin typeface="Century Gothic" panose="020B0502020202020204" pitchFamily="34" charset="0"/>
                        <a:ea typeface="Segoe UI Black" panose="020B0A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369671166"/>
                  </a:ext>
                </a:extLst>
              </a:tr>
            </a:tbl>
          </a:graphicData>
        </a:graphic>
      </p:graphicFrame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27" name="Таблица 26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079480741"/>
                  </p:ext>
                </p:extLst>
              </p:nvPr>
            </p:nvGraphicFramePr>
            <p:xfrm>
              <a:off x="3924294" y="1658870"/>
              <a:ext cx="3810427" cy="2600154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930593">
                      <a:extLst>
                        <a:ext uri="{9D8B030D-6E8A-4147-A177-3AD203B41FA5}">
                          <a16:colId xmlns="" xmlns:a16="http://schemas.microsoft.com/office/drawing/2014/main" val="3646076762"/>
                        </a:ext>
                      </a:extLst>
                    </a:gridCol>
                    <a:gridCol w="2879834">
                      <a:extLst>
                        <a:ext uri="{9D8B030D-6E8A-4147-A177-3AD203B41FA5}">
                          <a16:colId xmlns="" xmlns:a16="http://schemas.microsoft.com/office/drawing/2014/main" val="4091342844"/>
                        </a:ext>
                      </a:extLst>
                    </a:gridCol>
                  </a:tblGrid>
                  <a:tr h="395276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4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.3.1.1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III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. 1</a:t>
                          </a: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Рукавицы усиленные, с брезентовым наладонником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40820434"/>
                      </a:ext>
                    </a:extLst>
                  </a:tr>
                  <a:tr h="245071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4.3.1.2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IV</a:t>
                          </a: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Ботинки с жестким </a:t>
                          </a:r>
                          <a:r>
                            <a:rPr lang="ru-RU" sz="950" b="1" i="1" kern="0" dirty="0" err="1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подноском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390106966"/>
                      </a:ext>
                    </a:extLst>
                  </a:tr>
                  <a:tr h="245071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1.1.1.1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𝑰</m:t>
                                  </m:r>
                                </m:e>
                                <m:sup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𝟒</m:t>
                                  </m:r>
                                </m:sup>
                              </m:sSup>
                            </m:oMath>
                          </a14:m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381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err="1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Противошумные</a:t>
                          </a: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наушники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381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63683694"/>
                      </a:ext>
                    </a:extLst>
                  </a:tr>
                  <a:tr h="245071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1.8.1.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 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kumimoji="0" lang="ru-RU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𝑰</m:t>
                                  </m:r>
                                </m:e>
                                <m:sup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𝟓</m:t>
                                  </m:r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</m:sup>
                              </m:sSup>
                            </m:oMath>
                          </a14:m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1</a:t>
                          </a: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Респиратор с углеродным фильтром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104425111"/>
                      </a:ext>
                    </a:extLst>
                  </a:tr>
                  <a:tr h="395276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1.7.2.2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 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II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.1</a:t>
                          </a:r>
                        </a:p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Куртка утепленная на хлопчатобумажной </a:t>
                          </a:r>
                        </a:p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основе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3258510158"/>
                      </a:ext>
                    </a:extLst>
                  </a:tr>
                  <a:tr h="201116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4.1.1.2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𝑰</m:t>
                                  </m:r>
                                </m:e>
                                <m:sup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𝟏</m:t>
                                  </m:r>
                                </m:sup>
                              </m:sSup>
                              <m:r>
                                <a:rPr kumimoji="0" lang="en-US" sz="800" b="1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kumimoji="0" lang="en-US" sz="800" b="1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oMath>
                          </a14:m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Каска защитная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4176327043"/>
                      </a:ext>
                    </a:extLst>
                  </a:tr>
                  <a:tr h="245071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6.1.1.2 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II.</a:t>
                          </a: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Комбинезон хлопчатобумажный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614336771"/>
                      </a:ext>
                    </a:extLst>
                  </a:tr>
                  <a:tr h="198752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4.1.1.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V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91</a:t>
                          </a: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rgbClr val="C00000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Предохранительный</a:t>
                          </a:r>
                          <a:r>
                            <a:rPr lang="ru-RU" sz="950" b="1" i="1" kern="0" baseline="0" dirty="0" smtClean="0">
                              <a:solidFill>
                                <a:srgbClr val="C00000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пояс, лазы</a:t>
                          </a:r>
                          <a:endParaRPr lang="ru-RU" sz="950" b="1" i="1" kern="0" dirty="0">
                            <a:solidFill>
                              <a:srgbClr val="C00000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3101018483"/>
                      </a:ext>
                    </a:extLst>
                  </a:tr>
                  <a:tr h="356878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1.5.2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. I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37</a:t>
                          </a: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rgbClr val="C00000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Защитный экран</a:t>
                          </a:r>
                          <a:endParaRPr lang="ru-RU" sz="950" b="1" i="1" kern="0" dirty="0">
                            <a:solidFill>
                              <a:srgbClr val="C00000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4021888094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27" name="Таблица 26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079480741"/>
                  </p:ext>
                </p:extLst>
              </p:nvPr>
            </p:nvGraphicFramePr>
            <p:xfrm>
              <a:off x="3924294" y="1658870"/>
              <a:ext cx="3810427" cy="2600154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930593">
                      <a:extLst>
                        <a:ext uri="{9D8B030D-6E8A-4147-A177-3AD203B41FA5}">
                          <a16:colId xmlns="" xmlns:a16="http://schemas.microsoft.com/office/drawing/2014/main" xmlns:a14="http://schemas.microsoft.com/office/drawing/2010/main" val="3646076762"/>
                        </a:ext>
                      </a:extLst>
                    </a:gridCol>
                    <a:gridCol w="2879834">
                      <a:extLst>
                        <a:ext uri="{9D8B030D-6E8A-4147-A177-3AD203B41FA5}">
                          <a16:colId xmlns="" xmlns:a16="http://schemas.microsoft.com/office/drawing/2014/main" xmlns:a14="http://schemas.microsoft.com/office/drawing/2010/main" val="4091342844"/>
                        </a:ext>
                      </a:extLst>
                    </a:gridCol>
                  </a:tblGrid>
                  <a:tr h="395276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4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.3.1.1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III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. 1</a:t>
                          </a: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Рукавицы усиленные, с брезентовым наладонником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40820434"/>
                      </a:ext>
                    </a:extLst>
                  </a:tr>
                  <a:tr h="245071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4.3.1.2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IV</a:t>
                          </a: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Ботинки с жестким </a:t>
                          </a:r>
                          <a:r>
                            <a:rPr lang="ru-RU" sz="950" b="1" i="1" kern="0" dirty="0" err="1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подноском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1390106966"/>
                      </a:ext>
                    </a:extLst>
                  </a:tr>
                  <a:tr h="245071"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381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3"/>
                          <a:stretch>
                            <a:fillRect t="-262500" r="-309150" b="-705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err="1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Противошумные</a:t>
                          </a: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наушники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381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63683694"/>
                      </a:ext>
                    </a:extLst>
                  </a:tr>
                  <a:tr h="245071"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3"/>
                          <a:stretch>
                            <a:fillRect t="-353659" r="-309150" b="-58780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Респиратор с углеродным фильтром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1104425111"/>
                      </a:ext>
                    </a:extLst>
                  </a:tr>
                  <a:tr h="395276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1.7.2.2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 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II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.1</a:t>
                          </a:r>
                        </a:p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Куртка утепленная на хлопчатобумажной </a:t>
                          </a:r>
                        </a:p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основе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3258510158"/>
                      </a:ext>
                    </a:extLst>
                  </a:tr>
                  <a:tr h="236220"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3"/>
                          <a:stretch>
                            <a:fillRect t="-660526" r="-309150" b="-36315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Каска защитная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4176327043"/>
                      </a:ext>
                    </a:extLst>
                  </a:tr>
                  <a:tr h="245071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6.1.1.2 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II.</a:t>
                          </a: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Комбинезон хлопчатобумажный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614336771"/>
                      </a:ext>
                    </a:extLst>
                  </a:tr>
                  <a:tr h="236220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4.1.1.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V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91</a:t>
                          </a: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rgbClr val="C00000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Предохранительный</a:t>
                          </a:r>
                          <a:r>
                            <a:rPr lang="ru-RU" sz="950" b="1" i="1" kern="0" baseline="0" dirty="0" smtClean="0">
                              <a:solidFill>
                                <a:srgbClr val="C00000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пояс, лазы</a:t>
                          </a:r>
                          <a:endParaRPr lang="ru-RU" sz="950" b="1" i="1" kern="0" dirty="0">
                            <a:solidFill>
                              <a:srgbClr val="C00000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3101018483"/>
                      </a:ext>
                    </a:extLst>
                  </a:tr>
                  <a:tr h="356878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1.5.2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. I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37</a:t>
                          </a: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rgbClr val="C00000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Защитный экран</a:t>
                          </a:r>
                          <a:endParaRPr lang="ru-RU" sz="950" b="1" i="1" kern="0" dirty="0">
                            <a:solidFill>
                              <a:srgbClr val="C00000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4021888094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28" name="Таблица 2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599030560"/>
                  </p:ext>
                </p:extLst>
              </p:nvPr>
            </p:nvGraphicFramePr>
            <p:xfrm>
              <a:off x="8388538" y="1716575"/>
              <a:ext cx="3723349" cy="2529088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902613">
                      <a:extLst>
                        <a:ext uri="{9D8B030D-6E8A-4147-A177-3AD203B41FA5}">
                          <a16:colId xmlns="" xmlns:a16="http://schemas.microsoft.com/office/drawing/2014/main" val="3646076762"/>
                        </a:ext>
                      </a:extLst>
                    </a:gridCol>
                    <a:gridCol w="2820736">
                      <a:extLst>
                        <a:ext uri="{9D8B030D-6E8A-4147-A177-3AD203B41FA5}">
                          <a16:colId xmlns="" xmlns:a16="http://schemas.microsoft.com/office/drawing/2014/main" val="4091342844"/>
                        </a:ext>
                      </a:extLst>
                    </a:gridCol>
                  </a:tblGrid>
                  <a:tr h="353475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4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.3.1.1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III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. 1</a:t>
                          </a: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Рукавицы усиленные, с брезентовым наладонником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40820434"/>
                      </a:ext>
                    </a:extLst>
                  </a:tr>
                  <a:tr h="250948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4.3.1.2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IV</a:t>
                          </a: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Ботинки с жестким </a:t>
                          </a:r>
                          <a:r>
                            <a:rPr lang="ru-RU" sz="950" b="1" i="1" kern="0" dirty="0" err="1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подноском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7599794"/>
                      </a:ext>
                    </a:extLst>
                  </a:tr>
                  <a:tr h="254502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1.1.1.1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𝑰</m:t>
                                  </m:r>
                                </m:e>
                                <m:sup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𝟒</m:t>
                                  </m:r>
                                </m:sup>
                              </m:sSup>
                            </m:oMath>
                          </a14:m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381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err="1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Противошумные</a:t>
                          </a: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наушники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381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63683694"/>
                      </a:ext>
                    </a:extLst>
                  </a:tr>
                  <a:tr h="254502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1.8.1.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 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kumimoji="0" lang="ru-RU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𝑰</m:t>
                                  </m:r>
                                </m:e>
                                <m:sup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𝟓</m:t>
                                  </m:r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</m:sup>
                              </m:sSup>
                            </m:oMath>
                          </a14:m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1</a:t>
                          </a: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Респиратор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104425111"/>
                      </a:ext>
                    </a:extLst>
                  </a:tr>
                  <a:tr h="353475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1.7.2.2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 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II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.1</a:t>
                          </a: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Куртка утепленная на хлопчатобумажной </a:t>
                          </a:r>
                        </a:p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основе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3258510158"/>
                      </a:ext>
                    </a:extLst>
                  </a:tr>
                  <a:tr h="254502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4.1.1.2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𝑰</m:t>
                                  </m:r>
                                </m:e>
                                <m:sup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𝟏</m:t>
                                  </m:r>
                                </m:sup>
                              </m:sSup>
                              <m:r>
                                <a:rPr kumimoji="0" lang="en-US" sz="800" b="1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kumimoji="0" lang="en-US" sz="800" b="1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oMath>
                          </a14:m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Каска защитная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6182454"/>
                      </a:ext>
                    </a:extLst>
                  </a:tr>
                  <a:tr h="241380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6.1.1.2 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II.</a:t>
                          </a: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Комбинезон хлопчатобумажный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3182983430"/>
                      </a:ext>
                    </a:extLst>
                  </a:tr>
                  <a:tr h="199696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965853002"/>
                      </a:ext>
                    </a:extLst>
                  </a:tr>
                  <a:tr h="275034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2683577797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28" name="Таблица 2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599030560"/>
                  </p:ext>
                </p:extLst>
              </p:nvPr>
            </p:nvGraphicFramePr>
            <p:xfrm>
              <a:off x="8388538" y="1716575"/>
              <a:ext cx="3723349" cy="2529088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902613">
                      <a:extLst>
                        <a:ext uri="{9D8B030D-6E8A-4147-A177-3AD203B41FA5}">
                          <a16:colId xmlns="" xmlns:a16="http://schemas.microsoft.com/office/drawing/2014/main" xmlns:a14="http://schemas.microsoft.com/office/drawing/2010/main" val="3646076762"/>
                        </a:ext>
                      </a:extLst>
                    </a:gridCol>
                    <a:gridCol w="2820736">
                      <a:extLst>
                        <a:ext uri="{9D8B030D-6E8A-4147-A177-3AD203B41FA5}">
                          <a16:colId xmlns="" xmlns:a16="http://schemas.microsoft.com/office/drawing/2014/main" xmlns:a14="http://schemas.microsoft.com/office/drawing/2010/main" val="4091342844"/>
                        </a:ext>
                      </a:extLst>
                    </a:gridCol>
                  </a:tblGrid>
                  <a:tr h="381000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4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.3.1.1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III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. 1</a:t>
                          </a: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Рукавицы усиленные, с брезентовым наладонником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40820434"/>
                      </a:ext>
                    </a:extLst>
                  </a:tr>
                  <a:tr h="250948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4.3.1.2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IV</a:t>
                          </a: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Ботинки с жестким </a:t>
                          </a:r>
                          <a:r>
                            <a:rPr lang="ru-RU" sz="950" b="1" i="1" kern="0" dirty="0" err="1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подноском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107599794"/>
                      </a:ext>
                    </a:extLst>
                  </a:tr>
                  <a:tr h="254502"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381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4"/>
                          <a:stretch>
                            <a:fillRect t="-247619" r="-312838" b="-64285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err="1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Противошумные</a:t>
                          </a: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наушники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381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63683694"/>
                      </a:ext>
                    </a:extLst>
                  </a:tr>
                  <a:tr h="254502"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4"/>
                          <a:stretch>
                            <a:fillRect t="-347619" r="-312838" b="-54285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Респиратор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1104425111"/>
                      </a:ext>
                    </a:extLst>
                  </a:tr>
                  <a:tr h="381000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1.7.2.2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 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II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.1</a:t>
                          </a: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Куртка утепленная на хлопчатобумажной </a:t>
                          </a:r>
                        </a:p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основе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3258510158"/>
                      </a:ext>
                    </a:extLst>
                  </a:tr>
                  <a:tr h="254502"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4"/>
                          <a:stretch>
                            <a:fillRect t="-595238" r="-312838" b="-29523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Каска защитная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16182454"/>
                      </a:ext>
                    </a:extLst>
                  </a:tr>
                  <a:tr h="241380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6.1.1.2 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II.</a:t>
                          </a: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Комбинезон хлопчатобумажный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3182983430"/>
                      </a:ext>
                    </a:extLst>
                  </a:tr>
                  <a:tr h="236220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1965853002"/>
                      </a:ext>
                    </a:extLst>
                  </a:tr>
                  <a:tr h="275034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2683577797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31" name="Прямоугольник 30"/>
          <p:cNvSpPr/>
          <p:nvPr/>
        </p:nvSpPr>
        <p:spPr>
          <a:xfrm>
            <a:off x="293399" y="4282602"/>
            <a:ext cx="11791922" cy="257539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51" name="Таблица 50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172596761"/>
                  </p:ext>
                </p:extLst>
              </p:nvPr>
            </p:nvGraphicFramePr>
            <p:xfrm>
              <a:off x="8388538" y="4266891"/>
              <a:ext cx="3876871" cy="2269426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913123">
                      <a:extLst>
                        <a:ext uri="{9D8B030D-6E8A-4147-A177-3AD203B41FA5}">
                          <a16:colId xmlns="" xmlns:a16="http://schemas.microsoft.com/office/drawing/2014/main" val="3646076762"/>
                        </a:ext>
                      </a:extLst>
                    </a:gridCol>
                    <a:gridCol w="2963748">
                      <a:extLst>
                        <a:ext uri="{9D8B030D-6E8A-4147-A177-3AD203B41FA5}">
                          <a16:colId xmlns="" xmlns:a16="http://schemas.microsoft.com/office/drawing/2014/main" val="4091342844"/>
                        </a:ext>
                      </a:extLst>
                    </a:gridCol>
                  </a:tblGrid>
                  <a:tr h="379250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4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.3.1.1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III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. 1</a:t>
                          </a: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rgbClr val="FF0000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Рукавицы усиленные, с брезентовым наладонником</a:t>
                          </a:r>
                          <a:endParaRPr lang="ru-RU" sz="950" b="1" i="1" kern="0" dirty="0">
                            <a:solidFill>
                              <a:srgbClr val="FF0000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40820434"/>
                      </a:ext>
                    </a:extLst>
                  </a:tr>
                  <a:tr h="250948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4.3.1.2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IV</a:t>
                          </a: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rgbClr val="FF0000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Ботинки с жестким </a:t>
                          </a:r>
                          <a:r>
                            <a:rPr lang="ru-RU" sz="950" b="1" i="1" kern="0" dirty="0" err="1" smtClean="0">
                              <a:solidFill>
                                <a:srgbClr val="FF0000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подноском</a:t>
                          </a:r>
                          <a:endParaRPr lang="ru-RU" sz="950" b="1" i="1" kern="0" dirty="0">
                            <a:solidFill>
                              <a:srgbClr val="FF0000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7599794"/>
                      </a:ext>
                    </a:extLst>
                  </a:tr>
                  <a:tr h="254502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1.1.1.1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𝑰</m:t>
                                  </m:r>
                                </m:e>
                                <m:sup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𝟒</m:t>
                                  </m:r>
                                </m:sup>
                              </m:sSup>
                            </m:oMath>
                          </a14:m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381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err="1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Противошумные</a:t>
                          </a: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наушники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381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63683694"/>
                      </a:ext>
                    </a:extLst>
                  </a:tr>
                  <a:tr h="254502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1.8.1.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 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kumimoji="0" lang="ru-RU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𝑰</m:t>
                                  </m:r>
                                </m:e>
                                <m:sup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𝟓</m:t>
                                  </m:r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</m:sup>
                              </m:sSup>
                            </m:oMath>
                          </a14:m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1</a:t>
                          </a: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Респиратор</a:t>
                          </a: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104425111"/>
                      </a:ext>
                    </a:extLst>
                  </a:tr>
                  <a:tr h="277852">
                    <a:tc>
                      <a:txBody>
                        <a:bodyPr/>
                        <a:lstStyle/>
                        <a:p>
                          <a:pPr marL="0" marR="0" indent="0" algn="l" rtl="0" eaLnBrk="1" fontAlgn="auto" latinLnBrk="0" hangingPunct="1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800" b="1" i="1" u="none" strike="noStrike" kern="1200" spc="0" baseline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latin typeface="Century Gothic" panose="020B0502020202020204" pitchFamily="34" charset="0"/>
                              <a:ea typeface="Segoe UI Black" panose="020B0A02040204020203"/>
                              <a:cs typeface="Segoe UI Light" panose="020B0502040204020203" pitchFamily="34" charset="0"/>
                            </a:rPr>
                            <a:t>1.7.2.2 (D) II.1</a:t>
                          </a:r>
                          <a:endParaRPr lang="en-US" sz="1800" b="0" i="0" u="none" strike="noStrike">
                            <a:effectLst/>
                            <a:latin typeface="Arial" panose="020B0604020202020204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algn="l" rtl="0" eaLnBrk="1" fontAlgn="t" latinLnBrk="0" hangingPunct="1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ru-RU" sz="950" b="1" i="1" u="none" strike="noStrike" kern="1200" dirty="0" smtClean="0">
                              <a:solidFill>
                                <a:srgbClr val="FF0000"/>
                              </a:solidFill>
                              <a:effectLst/>
                              <a:latin typeface="Century Gothic" panose="020B0502020202020204" pitchFamily="34" charset="0"/>
                              <a:ea typeface="Segoe UI Black" panose="020B0A02040204020203"/>
                              <a:cs typeface="Segoe UI Light" panose="020B0502040204020203" pitchFamily="34" charset="0"/>
                            </a:rPr>
                            <a:t>Куртка утепленная на хлопчатобумажной основе</a:t>
                          </a:r>
                          <a:endParaRPr lang="ru-RU" sz="1800" b="0" i="0" u="none" strike="noStrike" dirty="0">
                            <a:effectLst/>
                            <a:latin typeface="Arial" panose="020B0604020202020204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3258510158"/>
                      </a:ext>
                    </a:extLst>
                  </a:tr>
                  <a:tr h="228504">
                    <a:tc>
                      <a:txBody>
                        <a:bodyPr/>
                        <a:lstStyle/>
                        <a:p>
                          <a:pPr marL="0" marR="0" indent="0" algn="l" rtl="0" eaLnBrk="1" fontAlgn="auto" latinLnBrk="0" hangingPunct="1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800" b="1" i="1" u="none" strike="noStrike" spc="0" baseline="0" dirty="0" smtClean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latin typeface="Century Gothic" panose="020B0502020202020204" pitchFamily="34" charset="0"/>
                              <a:ea typeface="Segoe UI Black" panose="020B0A02040204020203"/>
                              <a:cs typeface="Segoe UI Light" panose="020B0502040204020203" pitchFamily="34" charset="0"/>
                            </a:rPr>
                            <a:t>4.1.1.2 (D) 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lang="ar-AE" sz="800" b="1" i="1" u="none" strike="noStrike" spc="0" baseline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ar-AE" sz="800" b="1" i="1" u="none" strike="noStrike" spc="0" baseline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latin typeface="Cambria Math" panose="02040503050406030204" pitchFamily="18" charset="0"/>
                                    </a:rPr>
                                    <m:t>𝑰</m:t>
                                  </m:r>
                                </m:e>
                                <m:sup>
                                  <m:r>
                                    <a:rPr lang="ar-AE" sz="800" b="1" i="1" u="none" strike="noStrike" spc="0" baseline="0">
                                      <a:ln>
                                        <a:noFill/>
                                      </a:ln>
                                      <a:solidFill>
                                        <a:schemeClr val="tx1"/>
                                      </a:solidFill>
                                      <a:effectLst/>
                                      <a:latin typeface="Cambria Math" panose="02040503050406030204" pitchFamily="18" charset="0"/>
                                    </a:rPr>
                                    <m:t>𝟏</m:t>
                                  </m:r>
                                </m:sup>
                              </m:sSup>
                              <m:r>
                                <a:rPr lang="ar-AE" sz="800" b="1" i="1" u="none" strike="noStrike" spc="0" baseline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ar-AE" sz="800" b="1" i="1" u="none" strike="noStrike" spc="0" baseline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oMath>
                          </a14:m>
                          <a:endParaRPr lang="ar-AE" sz="1800" b="0" i="0" u="none" strike="noStrike" dirty="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algn="l" rtl="0" eaLnBrk="1" fontAlgn="t" latinLnBrk="0" hangingPunct="1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ru-RU" sz="950" b="1" i="1" u="none" strike="noStrike" dirty="0" smtClean="0">
                              <a:solidFill>
                                <a:schemeClr val="tx1"/>
                              </a:solidFill>
                              <a:effectLst/>
                              <a:latin typeface="Century Gothic" panose="020B0502020202020204" pitchFamily="34" charset="0"/>
                              <a:ea typeface="Segoe UI Black" panose="020B0A02040204020203"/>
                              <a:cs typeface="Segoe UI Light" panose="020B0502040204020203" pitchFamily="34" charset="0"/>
                            </a:rPr>
                            <a:t>Каска</a:t>
                          </a:r>
                          <a:r>
                            <a:rPr lang="ru-RU" sz="950" b="1" i="1" u="none" strike="noStrike" baseline="0" dirty="0" smtClean="0">
                              <a:solidFill>
                                <a:schemeClr val="tx1"/>
                              </a:solidFill>
                              <a:effectLst/>
                              <a:latin typeface="Century Gothic" panose="020B0502020202020204" pitchFamily="34" charset="0"/>
                              <a:ea typeface="Segoe UI Black" panose="020B0A02040204020203"/>
                              <a:cs typeface="Segoe UI Light" panose="020B0502040204020203" pitchFamily="34" charset="0"/>
                            </a:rPr>
                            <a:t> защитная</a:t>
                          </a:r>
                          <a:endParaRPr lang="ru-RU" sz="1800" b="0" i="0" u="none" strike="noStrike" dirty="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2913494678"/>
                      </a:ext>
                    </a:extLst>
                  </a:tr>
                  <a:tr h="228504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6.1.1.2 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II.</a:t>
                          </a: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Комбинезон хлопчатобумажный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3274330850"/>
                      </a:ext>
                    </a:extLst>
                  </a:tr>
                  <a:tr h="275034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3182983430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51" name="Таблица 50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172596761"/>
                  </p:ext>
                </p:extLst>
              </p:nvPr>
            </p:nvGraphicFramePr>
            <p:xfrm>
              <a:off x="8388538" y="4266891"/>
              <a:ext cx="3876871" cy="2269426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913123">
                      <a:extLst>
                        <a:ext uri="{9D8B030D-6E8A-4147-A177-3AD203B41FA5}">
                          <a16:colId xmlns="" xmlns:a16="http://schemas.microsoft.com/office/drawing/2014/main" xmlns:a14="http://schemas.microsoft.com/office/drawing/2010/main" val="3646076762"/>
                        </a:ext>
                      </a:extLst>
                    </a:gridCol>
                    <a:gridCol w="2963748">
                      <a:extLst>
                        <a:ext uri="{9D8B030D-6E8A-4147-A177-3AD203B41FA5}">
                          <a16:colId xmlns="" xmlns:a16="http://schemas.microsoft.com/office/drawing/2014/main" xmlns:a14="http://schemas.microsoft.com/office/drawing/2010/main" val="4091342844"/>
                        </a:ext>
                      </a:extLst>
                    </a:gridCol>
                  </a:tblGrid>
                  <a:tr h="381000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4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.3.1.1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III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. 1</a:t>
                          </a: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rgbClr val="FF0000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Рукавицы усиленные, с брезентовым наладонником</a:t>
                          </a:r>
                          <a:endParaRPr lang="ru-RU" sz="950" b="1" i="1" kern="0" dirty="0">
                            <a:solidFill>
                              <a:srgbClr val="FF0000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40820434"/>
                      </a:ext>
                    </a:extLst>
                  </a:tr>
                  <a:tr h="250948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4.3.1.2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IV</a:t>
                          </a: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rgbClr val="FF0000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Ботинки с жестким </a:t>
                          </a:r>
                          <a:r>
                            <a:rPr lang="ru-RU" sz="950" b="1" i="1" kern="0" dirty="0" err="1" smtClean="0">
                              <a:solidFill>
                                <a:srgbClr val="FF0000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подноском</a:t>
                          </a:r>
                          <a:endParaRPr lang="ru-RU" sz="950" b="1" i="1" kern="0" dirty="0">
                            <a:solidFill>
                              <a:srgbClr val="FF0000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107599794"/>
                      </a:ext>
                    </a:extLst>
                  </a:tr>
                  <a:tr h="254502"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381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5"/>
                          <a:stretch>
                            <a:fillRect t="-247619" r="-324667" b="-54285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err="1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Противошумные</a:t>
                          </a: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наушники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381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63683694"/>
                      </a:ext>
                    </a:extLst>
                  </a:tr>
                  <a:tr h="254502"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5"/>
                          <a:stretch>
                            <a:fillRect t="-347619" r="-324667" b="-44285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Респиратор</a:t>
                          </a: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1104425111"/>
                      </a:ext>
                    </a:extLst>
                  </a:tr>
                  <a:tr h="381000">
                    <a:tc>
                      <a:txBody>
                        <a:bodyPr/>
                        <a:lstStyle/>
                        <a:p>
                          <a:pPr marL="0" marR="0" indent="0" algn="l" rtl="0" eaLnBrk="1" fontAlgn="auto" latinLnBrk="0" hangingPunct="1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800" b="1" i="1" u="none" strike="noStrike" kern="1200" spc="0" baseline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latin typeface="Century Gothic" panose="020B0502020202020204" pitchFamily="34" charset="0"/>
                              <a:ea typeface="Segoe UI Black" panose="020B0A02040204020203"/>
                              <a:cs typeface="Segoe UI Light" panose="020B0502040204020203" pitchFamily="34" charset="0"/>
                            </a:rPr>
                            <a:t>1.7.2.2 (D) II.1</a:t>
                          </a:r>
                          <a:endParaRPr lang="en-US" sz="1800" b="0" i="0" u="none" strike="noStrike">
                            <a:effectLst/>
                            <a:latin typeface="Arial" panose="020B0604020202020204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algn="l" rtl="0" eaLnBrk="1" fontAlgn="t" latinLnBrk="0" hangingPunct="1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ru-RU" sz="950" b="1" i="1" u="none" strike="noStrike" kern="1200" dirty="0" smtClean="0">
                              <a:solidFill>
                                <a:srgbClr val="FF0000"/>
                              </a:solidFill>
                              <a:effectLst/>
                              <a:latin typeface="Century Gothic" panose="020B0502020202020204" pitchFamily="34" charset="0"/>
                              <a:ea typeface="Segoe UI Black" panose="020B0A02040204020203"/>
                              <a:cs typeface="Segoe UI Light" panose="020B0502040204020203" pitchFamily="34" charset="0"/>
                            </a:rPr>
                            <a:t>Куртка утепленная на хлопчатобумажной основе</a:t>
                          </a:r>
                          <a:endParaRPr lang="ru-RU" sz="1800" b="0" i="0" u="none" strike="noStrike" dirty="0">
                            <a:effectLst/>
                            <a:latin typeface="Arial" panose="020B0604020202020204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3258510158"/>
                      </a:ext>
                    </a:extLst>
                  </a:tr>
                  <a:tr h="236220"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5"/>
                          <a:stretch>
                            <a:fillRect t="-643590" r="-324667" b="-21538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algn="l" rtl="0" eaLnBrk="1" fontAlgn="t" latinLnBrk="0" hangingPunct="1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ru-RU" sz="950" b="1" i="1" u="none" strike="noStrike" dirty="0" smtClean="0">
                              <a:solidFill>
                                <a:schemeClr val="tx1"/>
                              </a:solidFill>
                              <a:effectLst/>
                              <a:latin typeface="Century Gothic" panose="020B0502020202020204" pitchFamily="34" charset="0"/>
                              <a:ea typeface="Segoe UI Black" panose="020B0A02040204020203"/>
                              <a:cs typeface="Segoe UI Light" panose="020B0502040204020203" pitchFamily="34" charset="0"/>
                            </a:rPr>
                            <a:t>Каска</a:t>
                          </a:r>
                          <a:r>
                            <a:rPr lang="ru-RU" sz="950" b="1" i="1" u="none" strike="noStrike" baseline="0" dirty="0" smtClean="0">
                              <a:solidFill>
                                <a:schemeClr val="tx1"/>
                              </a:solidFill>
                              <a:effectLst/>
                              <a:latin typeface="Century Gothic" panose="020B0502020202020204" pitchFamily="34" charset="0"/>
                              <a:ea typeface="Segoe UI Black" panose="020B0A02040204020203"/>
                              <a:cs typeface="Segoe UI Light" panose="020B0502040204020203" pitchFamily="34" charset="0"/>
                            </a:rPr>
                            <a:t> защитная</a:t>
                          </a:r>
                          <a:endParaRPr lang="ru-RU" sz="1800" b="0" i="0" u="none" strike="noStrike" dirty="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2913494678"/>
                      </a:ext>
                    </a:extLst>
                  </a:tr>
                  <a:tr h="236220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6.1.1.2 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II.</a:t>
                          </a: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Комбинезон хлопчатобумажный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3274330850"/>
                      </a:ext>
                    </a:extLst>
                  </a:tr>
                  <a:tr h="275034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3182983430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52" name="Таблица 51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030716338"/>
                  </p:ext>
                </p:extLst>
              </p:nvPr>
            </p:nvGraphicFramePr>
            <p:xfrm>
              <a:off x="4046483" y="4251917"/>
              <a:ext cx="3769572" cy="2554553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882869">
                      <a:extLst>
                        <a:ext uri="{9D8B030D-6E8A-4147-A177-3AD203B41FA5}">
                          <a16:colId xmlns="" xmlns:a16="http://schemas.microsoft.com/office/drawing/2014/main" val="3646076762"/>
                        </a:ext>
                      </a:extLst>
                    </a:gridCol>
                    <a:gridCol w="2886703">
                      <a:extLst>
                        <a:ext uri="{9D8B030D-6E8A-4147-A177-3AD203B41FA5}">
                          <a16:colId xmlns="" xmlns:a16="http://schemas.microsoft.com/office/drawing/2014/main" val="4091342844"/>
                        </a:ext>
                      </a:extLst>
                    </a:gridCol>
                  </a:tblGrid>
                  <a:tr h="385130">
                    <a:tc>
                      <a:txBody>
                        <a:bodyPr/>
                        <a:lstStyle/>
                        <a:p>
                          <a:endParaRPr lang="ru-RU" sz="80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ru-RU" sz="950" b="1" i="1" kern="0" dirty="0">
                            <a:solidFill>
                              <a:schemeClr val="accent5">
                                <a:lumMod val="50000"/>
                              </a:schemeClr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40820434"/>
                      </a:ext>
                    </a:extLst>
                  </a:tr>
                  <a:tr h="194445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ru-RU" sz="950" b="1" i="1" kern="0" dirty="0">
                            <a:solidFill>
                              <a:schemeClr val="accent5">
                                <a:lumMod val="50000"/>
                              </a:schemeClr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07599794"/>
                      </a:ext>
                    </a:extLst>
                  </a:tr>
                  <a:tr h="277294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1.1.1.1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𝑰</m:t>
                                  </m:r>
                                </m:e>
                                <m:sup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𝟒</m:t>
                                  </m:r>
                                </m:sup>
                              </m:sSup>
                            </m:oMath>
                          </a14:m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381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err="1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Противошумные</a:t>
                          </a: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наушники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381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63683694"/>
                      </a:ext>
                    </a:extLst>
                  </a:tr>
                  <a:tr h="277294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1.8.1.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 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kumimoji="0" lang="ru-RU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𝑰</m:t>
                                  </m:r>
                                </m:e>
                                <m:sup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𝟓</m:t>
                                  </m:r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</m:sup>
                              </m:sSup>
                            </m:oMath>
                          </a14:m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1</a:t>
                          </a: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Респиратор</a:t>
                          </a: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104425111"/>
                      </a:ext>
                    </a:extLst>
                  </a:tr>
                  <a:tr h="261391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3258510158"/>
                      </a:ext>
                    </a:extLst>
                  </a:tr>
                  <a:tr h="240602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4.1.1.2 (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D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)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𝑰</m:t>
                                  </m:r>
                                </m:e>
                                <m:sup>
                                  <m:r>
                                    <a:rPr kumimoji="0" lang="en-US" sz="800" b="1" i="1" u="none" strike="noStrike" kern="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</a:rPr>
                                    <m:t>𝟏</m:t>
                                  </m:r>
                                </m:sup>
                              </m:sSup>
                              <m:r>
                                <a:rPr kumimoji="0" lang="en-US" sz="800" b="1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kumimoji="0" lang="en-US" sz="800" b="1" i="1" u="none" strike="noStrike" kern="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oMath>
                          </a14:m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Каска защитная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4137768285"/>
                      </a:ext>
                    </a:extLst>
                  </a:tr>
                  <a:tr h="277294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6.1.1.2 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II.</a:t>
                          </a: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Комбинезон хлопчатобумажный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16182454"/>
                      </a:ext>
                    </a:extLst>
                  </a:tr>
                  <a:tr h="299664">
                    <a:tc>
                      <a:txBody>
                        <a:bodyPr/>
                        <a:lstStyle/>
                        <a:p>
                          <a:pPr marL="0" marR="0" indent="0" algn="l" rtl="0" eaLnBrk="1" fontAlgn="auto" latinLnBrk="0" hangingPunct="1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800" b="1" i="1" u="none" strike="noStrike" spc="0" baseline="0" dirty="0" err="1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latin typeface="Century Gothic" panose="020B0502020202020204" pitchFamily="34" charset="0"/>
                              <a:ea typeface="Segoe UI Black" panose="020B0A02040204020203"/>
                              <a:cs typeface="Segoe UI Light" panose="020B0502040204020203" pitchFamily="34" charset="0"/>
                            </a:rPr>
                            <a:t>4.1.1.V</a:t>
                          </a:r>
                          <a:r>
                            <a:rPr lang="en-US" sz="800" b="1" i="1" u="none" strike="noStrike" spc="0" baseline="0" dirty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latin typeface="Century Gothic" panose="020B0502020202020204" pitchFamily="34" charset="0"/>
                              <a:ea typeface="Segoe UI Black" panose="020B0A02040204020203"/>
                              <a:cs typeface="Segoe UI Light" panose="020B0502040204020203" pitchFamily="34" charset="0"/>
                            </a:rPr>
                            <a:t> 91</a:t>
                          </a:r>
                          <a:endParaRPr lang="en-US" sz="1800" b="0" i="0" u="none" strike="noStrike" dirty="0">
                            <a:effectLst/>
                            <a:latin typeface="Arial" panose="020B0604020202020204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algn="l" rtl="0" eaLnBrk="1" fontAlgn="t" latinLnBrk="0" hangingPunct="1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ru-RU" sz="950" b="1" i="1" u="none" strike="noStrike" dirty="0" smtClean="0">
                              <a:solidFill>
                                <a:srgbClr val="0070C0"/>
                              </a:solidFill>
                              <a:effectLst/>
                              <a:latin typeface="Century Gothic" panose="020B0502020202020204" pitchFamily="34" charset="0"/>
                              <a:ea typeface="Segoe UI Black" panose="020B0A02040204020203"/>
                              <a:cs typeface="Segoe UI Light" panose="020B0502040204020203" pitchFamily="34" charset="0"/>
                            </a:rPr>
                            <a:t>Предохранительный</a:t>
                          </a:r>
                          <a:r>
                            <a:rPr lang="ru-RU" sz="950" b="1" i="1" u="none" strike="noStrike" baseline="0" dirty="0" smtClean="0">
                              <a:solidFill>
                                <a:srgbClr val="0070C0"/>
                              </a:solidFill>
                              <a:effectLst/>
                              <a:latin typeface="Century Gothic" panose="020B0502020202020204" pitchFamily="34" charset="0"/>
                              <a:ea typeface="Segoe UI Black" panose="020B0A02040204020203"/>
                              <a:cs typeface="Segoe UI Light" panose="020B0502040204020203" pitchFamily="34" charset="0"/>
                            </a:rPr>
                            <a:t> пояс, лазы</a:t>
                          </a:r>
                          <a:endParaRPr lang="ru-RU" sz="1800" b="0" i="0" u="none" strike="noStrike" dirty="0">
                            <a:solidFill>
                              <a:srgbClr val="0070C0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3182983430"/>
                      </a:ext>
                    </a:extLst>
                  </a:tr>
                  <a:tr h="299664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1.5.2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. I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37</a:t>
                          </a: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rgbClr val="0070C0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Защитный экран</a:t>
                          </a:r>
                          <a:endParaRPr lang="ru-RU" sz="950" b="1" i="1" kern="0" dirty="0">
                            <a:solidFill>
                              <a:srgbClr val="0070C0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3533548035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52" name="Таблица 51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030716338"/>
                  </p:ext>
                </p:extLst>
              </p:nvPr>
            </p:nvGraphicFramePr>
            <p:xfrm>
              <a:off x="4046483" y="4251917"/>
              <a:ext cx="3769572" cy="2554553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882869">
                      <a:extLst>
                        <a:ext uri="{9D8B030D-6E8A-4147-A177-3AD203B41FA5}">
                          <a16:colId xmlns="" xmlns:a16="http://schemas.microsoft.com/office/drawing/2014/main" xmlns:a14="http://schemas.microsoft.com/office/drawing/2010/main" val="3646076762"/>
                        </a:ext>
                      </a:extLst>
                    </a:gridCol>
                    <a:gridCol w="2886703">
                      <a:extLst>
                        <a:ext uri="{9D8B030D-6E8A-4147-A177-3AD203B41FA5}">
                          <a16:colId xmlns="" xmlns:a16="http://schemas.microsoft.com/office/drawing/2014/main" xmlns:a14="http://schemas.microsoft.com/office/drawing/2010/main" val="4091342844"/>
                        </a:ext>
                      </a:extLst>
                    </a:gridCol>
                  </a:tblGrid>
                  <a:tr h="385130">
                    <a:tc>
                      <a:txBody>
                        <a:bodyPr/>
                        <a:lstStyle/>
                        <a:p>
                          <a:endParaRPr lang="ru-RU" sz="80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ru-RU" sz="950" b="1" i="1" kern="0" dirty="0">
                            <a:solidFill>
                              <a:schemeClr val="accent5">
                                <a:lumMod val="50000"/>
                              </a:schemeClr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40820434"/>
                      </a:ext>
                    </a:extLst>
                  </a:tr>
                  <a:tr h="236220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ru-RU" sz="950" b="1" i="1" kern="0" dirty="0">
                            <a:solidFill>
                              <a:schemeClr val="accent5">
                                <a:lumMod val="50000"/>
                              </a:schemeClr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381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107599794"/>
                      </a:ext>
                    </a:extLst>
                  </a:tr>
                  <a:tr h="277294"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381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6"/>
                          <a:stretch>
                            <a:fillRect t="-221739" r="-327586" b="-59130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 err="1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Противошумные</a:t>
                          </a: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наушники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381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63683694"/>
                      </a:ext>
                    </a:extLst>
                  </a:tr>
                  <a:tr h="277294"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6"/>
                          <a:stretch>
                            <a:fillRect t="-328889" r="-327586" b="-504444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950" b="1" i="1" kern="0" dirty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Респиратор</a:t>
                          </a: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1104425111"/>
                      </a:ext>
                    </a:extLst>
                  </a:tr>
                  <a:tr h="261391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3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3258510158"/>
                      </a:ext>
                    </a:extLst>
                  </a:tr>
                  <a:tr h="240602"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 rotWithShape="0">
                          <a:blip r:embed="rId6"/>
                          <a:stretch>
                            <a:fillRect t="-590000" r="-327586" b="-36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Каска защитная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4137768285"/>
                      </a:ext>
                    </a:extLst>
                  </a:tr>
                  <a:tr h="277294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6.1.1.2 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II.</a:t>
                          </a:r>
                          <a:endParaRPr kumimoji="0" lang="ru-RU" sz="800" b="1" i="1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chemeClr val="tx1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Комбинезон хлопчатобумажный</a:t>
                          </a:r>
                          <a:endParaRPr lang="ru-RU" sz="950" b="1" i="1" kern="0" dirty="0">
                            <a:solidFill>
                              <a:schemeClr val="tx1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16182454"/>
                      </a:ext>
                    </a:extLst>
                  </a:tr>
                  <a:tr h="299664">
                    <a:tc>
                      <a:txBody>
                        <a:bodyPr/>
                        <a:lstStyle/>
                        <a:p>
                          <a:pPr marL="0" marR="0" indent="0" algn="l" rtl="0" eaLnBrk="1" fontAlgn="auto" latinLnBrk="0" hangingPunct="1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800" b="1" i="1" u="none" strike="noStrike" spc="0" baseline="0" dirty="0" err="1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latin typeface="Century Gothic" panose="020B0502020202020204" pitchFamily="34" charset="0"/>
                              <a:ea typeface="Segoe UI Black" panose="020B0A02040204020203"/>
                              <a:cs typeface="Segoe UI Light" panose="020B0502040204020203" pitchFamily="34" charset="0"/>
                            </a:rPr>
                            <a:t>4.1.1.V</a:t>
                          </a:r>
                          <a:r>
                            <a:rPr lang="en-US" sz="800" b="1" i="1" u="none" strike="noStrike" spc="0" baseline="0" dirty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latin typeface="Century Gothic" panose="020B0502020202020204" pitchFamily="34" charset="0"/>
                              <a:ea typeface="Segoe UI Black" panose="020B0A02040204020203"/>
                              <a:cs typeface="Segoe UI Light" panose="020B0502040204020203" pitchFamily="34" charset="0"/>
                            </a:rPr>
                            <a:t> 91</a:t>
                          </a:r>
                          <a:endParaRPr lang="en-US" sz="1800" b="0" i="0" u="none" strike="noStrike" dirty="0">
                            <a:effectLst/>
                            <a:latin typeface="Arial" panose="020B0604020202020204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algn="l" rtl="0" eaLnBrk="1" fontAlgn="t" latinLnBrk="0" hangingPunct="1"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ru-RU" sz="950" b="1" i="1" u="none" strike="noStrike" dirty="0" smtClean="0">
                              <a:solidFill>
                                <a:srgbClr val="0070C0"/>
                              </a:solidFill>
                              <a:effectLst/>
                              <a:latin typeface="Century Gothic" panose="020B0502020202020204" pitchFamily="34" charset="0"/>
                              <a:ea typeface="Segoe UI Black" panose="020B0A02040204020203"/>
                              <a:cs typeface="Segoe UI Light" panose="020B0502040204020203" pitchFamily="34" charset="0"/>
                            </a:rPr>
                            <a:t>Предохранительный</a:t>
                          </a:r>
                          <a:r>
                            <a:rPr lang="ru-RU" sz="950" b="1" i="1" u="none" strike="noStrike" baseline="0" dirty="0" smtClean="0">
                              <a:solidFill>
                                <a:srgbClr val="0070C0"/>
                              </a:solidFill>
                              <a:effectLst/>
                              <a:latin typeface="Century Gothic" panose="020B0502020202020204" pitchFamily="34" charset="0"/>
                              <a:ea typeface="Segoe UI Black" panose="020B0A02040204020203"/>
                              <a:cs typeface="Segoe UI Light" panose="020B0502040204020203" pitchFamily="34" charset="0"/>
                            </a:rPr>
                            <a:t> пояс, лазы</a:t>
                          </a:r>
                          <a:endParaRPr lang="ru-RU" sz="1800" b="0" i="0" u="none" strike="noStrike" dirty="0">
                            <a:solidFill>
                              <a:srgbClr val="0070C0"/>
                            </a:solidFill>
                            <a:effectLst/>
                            <a:latin typeface="Arial" panose="020B0604020202020204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3182983430"/>
                      </a:ext>
                    </a:extLst>
                  </a:tr>
                  <a:tr h="299664"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1.5.2</a:t>
                          </a:r>
                          <a:r>
                            <a:rPr kumimoji="0" lang="en-US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. I</a:t>
                          </a:r>
                          <a:r>
                            <a:rPr kumimoji="0" lang="ru-RU" sz="800" b="1" i="1" u="none" strike="noStrike" kern="0" cap="none" spc="0" normalizeH="0" baseline="0" noProof="0" dirty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 37</a:t>
                          </a: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lvl="3" algn="l">
                            <a:defRPr/>
                          </a:pPr>
                          <a:r>
                            <a:rPr lang="ru-RU" sz="950" b="1" i="1" kern="0" dirty="0" smtClean="0">
                              <a:solidFill>
                                <a:srgbClr val="0070C0"/>
                              </a:solidFill>
                              <a:latin typeface="Century Gothic" panose="020B0502020202020204" pitchFamily="34" charset="0"/>
                              <a:ea typeface="Segoe UI Black" panose="020B0A02040204020203" pitchFamily="34" charset="0"/>
                              <a:cs typeface="Segoe UI Light" panose="020B0502040204020203" pitchFamily="34" charset="0"/>
                            </a:rPr>
                            <a:t>Защитный экран</a:t>
                          </a:r>
                          <a:endParaRPr lang="ru-RU" sz="950" b="1" i="1" kern="0" dirty="0">
                            <a:solidFill>
                              <a:srgbClr val="0070C0"/>
                            </a:solidFill>
                            <a:latin typeface="Century Gothic" panose="020B0502020202020204" pitchFamily="34" charset="0"/>
                            <a:ea typeface="Segoe UI Black" panose="020B0A02040204020203" pitchFamily="34" charset="0"/>
                            <a:cs typeface="Segoe UI Light" panose="020B0502040204020203" pitchFamily="34" charset="0"/>
                          </a:endParaRPr>
                        </a:p>
                      </a:txBody>
                      <a:tcPr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3533548035"/>
                      </a:ext>
                    </a:extLst>
                  </a:tr>
                </a:tbl>
              </a:graphicData>
            </a:graphic>
          </p:graphicFrame>
        </mc:Fallback>
      </mc:AlternateContent>
      <p:graphicFrame>
        <p:nvGraphicFramePr>
          <p:cNvPr id="53" name="Таблица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5418554"/>
              </p:ext>
            </p:extLst>
          </p:nvPr>
        </p:nvGraphicFramePr>
        <p:xfrm>
          <a:off x="340980" y="4197508"/>
          <a:ext cx="3419852" cy="28783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5239">
                  <a:extLst>
                    <a:ext uri="{9D8B030D-6E8A-4147-A177-3AD203B41FA5}">
                      <a16:colId xmlns="" xmlns:a16="http://schemas.microsoft.com/office/drawing/2014/main" val="3646076762"/>
                    </a:ext>
                  </a:extLst>
                </a:gridCol>
                <a:gridCol w="2894613">
                  <a:extLst>
                    <a:ext uri="{9D8B030D-6E8A-4147-A177-3AD203B41FA5}">
                      <a16:colId xmlns="" xmlns:a16="http://schemas.microsoft.com/office/drawing/2014/main" val="4091342844"/>
                    </a:ext>
                  </a:extLst>
                </a:gridCol>
              </a:tblGrid>
              <a:tr h="646341">
                <a:tc>
                  <a:txBody>
                    <a:bodyPr/>
                    <a:lstStyle/>
                    <a:p>
                      <a:endParaRPr lang="ru-RU" sz="800" b="1" i="1" kern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Segoe UI Black" panose="020B0A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50" b="1" i="1" kern="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Segoe UI Black" panose="020B0A02040204020203" pitchFamily="34" charset="0"/>
                        <a:cs typeface="Segoe UI Light" panose="020B0502040204020203" pitchFamily="34" charset="0"/>
                      </a:endParaRPr>
                    </a:p>
                    <a:p>
                      <a:pPr marL="0" marR="0" lvl="3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50" b="1" i="1" kern="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Segoe UI Black" panose="020B0A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820434"/>
                  </a:ext>
                </a:extLst>
              </a:tr>
              <a:tr h="252259">
                <a:tc>
                  <a:txBody>
                    <a:bodyPr/>
                    <a:lstStyle/>
                    <a:p>
                      <a:r>
                        <a:rPr lang="ru-RU" sz="800" b="1" i="1" kern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1.1.1.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50" b="1" i="1" kern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Шум</a:t>
                      </a:r>
                      <a:endParaRPr lang="ru-RU" sz="950" b="1" i="1" kern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Segoe UI Black" panose="020B0A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3683694"/>
                  </a:ext>
                </a:extLst>
              </a:tr>
              <a:tr h="252259">
                <a:tc>
                  <a:txBody>
                    <a:bodyPr/>
                    <a:lstStyle/>
                    <a:p>
                      <a:r>
                        <a:rPr lang="ru-RU" sz="800" b="1" i="1" kern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1.8.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50" b="1" i="1" kern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Пыль общепромышленная, аэрозоли, пары</a:t>
                      </a:r>
                      <a:endParaRPr lang="ru-RU" sz="950" b="1" i="1" kern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Segoe UI Black" panose="020B0A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104425111"/>
                  </a:ext>
                </a:extLst>
              </a:tr>
              <a:tr h="365521">
                <a:tc>
                  <a:txBody>
                    <a:bodyPr/>
                    <a:lstStyle/>
                    <a:p>
                      <a:endParaRPr lang="ru-RU" sz="800" b="1" i="1" kern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Segoe UI Black" panose="020B0A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50" b="1" i="1" kern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Segoe UI Black" panose="020B0A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258510158"/>
                  </a:ext>
                </a:extLst>
              </a:tr>
              <a:tr h="302600">
                <a:tc>
                  <a:txBody>
                    <a:bodyPr/>
                    <a:lstStyle/>
                    <a:p>
                      <a:r>
                        <a:rPr lang="ru-RU" sz="800" b="1" i="1" kern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4.1.1.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algn="l">
                        <a:defRPr/>
                      </a:pPr>
                      <a:r>
                        <a:rPr lang="ru-RU" sz="950" b="1" i="1" kern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Падение, обрушение, обвал предметов</a:t>
                      </a:r>
                      <a:endParaRPr lang="ru-RU" sz="950" b="1" i="1" kern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Segoe UI Black" panose="020B0A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595399234"/>
                  </a:ext>
                </a:extLst>
              </a:tr>
              <a:tr h="302600">
                <a:tc>
                  <a:txBody>
                    <a:bodyPr/>
                    <a:lstStyle/>
                    <a:p>
                      <a:r>
                        <a:rPr lang="ru-RU" sz="800" b="1" i="1" kern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6.1.1.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algn="l">
                        <a:defRPr/>
                      </a:pPr>
                      <a:r>
                        <a:rPr lang="ru-RU" sz="950" b="1" i="1" kern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Общие производственные</a:t>
                      </a:r>
                      <a:r>
                        <a:rPr lang="ru-RU" sz="950" b="1" i="1" kern="0" baseline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 загрязнения</a:t>
                      </a:r>
                      <a:endParaRPr lang="ru-RU" sz="950" b="1" i="1" kern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Segoe UI Black" panose="020B0A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901687927"/>
                  </a:ext>
                </a:extLst>
              </a:tr>
              <a:tr h="252259">
                <a:tc>
                  <a:txBody>
                    <a:bodyPr/>
                    <a:lstStyle/>
                    <a:p>
                      <a:r>
                        <a:rPr lang="ru-RU" sz="800" b="1" i="1" kern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4.1.1.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algn="l">
                        <a:defRPr/>
                      </a:pPr>
                      <a:r>
                        <a:rPr lang="kk-KZ" sz="950" b="1" i="1" kern="0" dirty="0" smtClean="0">
                          <a:solidFill>
                            <a:srgbClr val="0070C0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Падение</a:t>
                      </a:r>
                      <a:r>
                        <a:rPr lang="kk-KZ" sz="950" b="1" i="1" kern="0" baseline="0" dirty="0" smtClean="0">
                          <a:solidFill>
                            <a:srgbClr val="0070C0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 с высоты</a:t>
                      </a:r>
                      <a:endParaRPr lang="ru-RU" sz="950" b="1" i="1" kern="0" dirty="0">
                        <a:solidFill>
                          <a:srgbClr val="0070C0"/>
                        </a:solidFill>
                        <a:latin typeface="Century Gothic" panose="020B0502020202020204" pitchFamily="34" charset="0"/>
                        <a:ea typeface="Segoe UI Black" panose="020B0A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866491291"/>
                  </a:ext>
                </a:extLst>
              </a:tr>
              <a:tr h="252259">
                <a:tc>
                  <a:txBody>
                    <a:bodyPr/>
                    <a:lstStyle/>
                    <a:p>
                      <a:r>
                        <a:rPr lang="ru-RU" sz="800" b="1" i="1" kern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1.5.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algn="l">
                        <a:defRPr/>
                      </a:pPr>
                      <a:r>
                        <a:rPr lang="ru-RU" sz="950" b="1" i="1" kern="0" baseline="0" dirty="0" smtClean="0">
                          <a:solidFill>
                            <a:srgbClr val="0070C0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Воздействие электрической </a:t>
                      </a:r>
                      <a:r>
                        <a:rPr lang="ru-RU" sz="950" b="1" i="1" kern="0" baseline="0" dirty="0" err="1" smtClean="0">
                          <a:solidFill>
                            <a:srgbClr val="0070C0"/>
                          </a:solidFill>
                          <a:latin typeface="Century Gothic" panose="020B0502020202020204" pitchFamily="34" charset="0"/>
                          <a:ea typeface="Segoe UI Black" panose="020B0A02040204020203" pitchFamily="34" charset="0"/>
                          <a:cs typeface="Segoe UI Light" panose="020B0502040204020203" pitchFamily="34" charset="0"/>
                        </a:rPr>
                        <a:t>дути</a:t>
                      </a:r>
                      <a:endParaRPr lang="ru-RU" sz="950" b="1" i="1" kern="0" dirty="0">
                        <a:solidFill>
                          <a:srgbClr val="0070C0"/>
                        </a:solidFill>
                        <a:latin typeface="Century Gothic" panose="020B0502020202020204" pitchFamily="34" charset="0"/>
                        <a:ea typeface="Segoe UI Black" panose="020B0A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397636032"/>
                  </a:ext>
                </a:extLst>
              </a:tr>
              <a:tr h="252259">
                <a:tc>
                  <a:txBody>
                    <a:bodyPr/>
                    <a:lstStyle/>
                    <a:p>
                      <a:endParaRPr lang="ru-RU" sz="800" b="1" i="1" kern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Segoe UI Black" panose="020B0A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3" algn="l">
                        <a:defRPr/>
                      </a:pPr>
                      <a:endParaRPr lang="ru-RU" sz="950" b="1" i="1" kern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Segoe UI Black" panose="020B0A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0369574"/>
                  </a:ext>
                </a:extLst>
              </a:tr>
            </a:tbl>
          </a:graphicData>
        </a:graphic>
      </p:graphicFrame>
      <p:sp>
        <p:nvSpPr>
          <p:cNvPr id="5" name="Минус 4"/>
          <p:cNvSpPr/>
          <p:nvPr/>
        </p:nvSpPr>
        <p:spPr>
          <a:xfrm>
            <a:off x="9437115" y="3799687"/>
            <a:ext cx="317030" cy="116815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k-KZ"/>
          </a:p>
        </p:txBody>
      </p:sp>
      <p:sp>
        <p:nvSpPr>
          <p:cNvPr id="36" name="Минус 35"/>
          <p:cNvSpPr/>
          <p:nvPr/>
        </p:nvSpPr>
        <p:spPr>
          <a:xfrm>
            <a:off x="9437115" y="4026616"/>
            <a:ext cx="317030" cy="116815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k-KZ"/>
          </a:p>
        </p:txBody>
      </p:sp>
      <p:sp>
        <p:nvSpPr>
          <p:cNvPr id="58" name="Минус 57"/>
          <p:cNvSpPr/>
          <p:nvPr/>
        </p:nvSpPr>
        <p:spPr>
          <a:xfrm>
            <a:off x="4984191" y="4344459"/>
            <a:ext cx="317030" cy="116815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k-KZ"/>
          </a:p>
        </p:txBody>
      </p:sp>
      <p:sp>
        <p:nvSpPr>
          <p:cNvPr id="59" name="Минус 58"/>
          <p:cNvSpPr/>
          <p:nvPr/>
        </p:nvSpPr>
        <p:spPr>
          <a:xfrm>
            <a:off x="4982303" y="4682318"/>
            <a:ext cx="317030" cy="116815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k-KZ"/>
          </a:p>
        </p:txBody>
      </p:sp>
      <p:sp>
        <p:nvSpPr>
          <p:cNvPr id="60" name="Минус 59"/>
          <p:cNvSpPr/>
          <p:nvPr/>
        </p:nvSpPr>
        <p:spPr>
          <a:xfrm>
            <a:off x="4982303" y="5497612"/>
            <a:ext cx="317030" cy="116815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k-KZ"/>
          </a:p>
        </p:txBody>
      </p:sp>
      <p:cxnSp>
        <p:nvCxnSpPr>
          <p:cNvPr id="32" name="Прямая соединительная линия 31">
            <a:extLst>
              <a:ext uri="{FF2B5EF4-FFF2-40B4-BE49-F238E27FC236}">
                <a16:creationId xmlns="" xmlns:a16="http://schemas.microsoft.com/office/drawing/2014/main" id="{69CE0D03-021E-1AE6-D55E-2BCA59863ACD}"/>
              </a:ext>
            </a:extLst>
          </p:cNvPr>
          <p:cNvCxnSpPr>
            <a:cxnSpLocks/>
          </p:cNvCxnSpPr>
          <p:nvPr/>
        </p:nvCxnSpPr>
        <p:spPr>
          <a:xfrm>
            <a:off x="339159" y="447187"/>
            <a:ext cx="111045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e4pHeader1">
            <a:extLst>
              <a:ext uri="{FF2B5EF4-FFF2-40B4-BE49-F238E27FC236}">
                <a16:creationId xmlns="" xmlns:a16="http://schemas.microsoft.com/office/drawing/2014/main" id="{5997E8DD-F419-0EA4-D55E-5148369FDFFB}"/>
              </a:ext>
            </a:extLst>
          </p:cNvPr>
          <p:cNvSpPr txBox="1"/>
          <p:nvPr/>
        </p:nvSpPr>
        <p:spPr>
          <a:xfrm>
            <a:off x="273161" y="1452066"/>
            <a:ext cx="3446413" cy="2837484"/>
          </a:xfrm>
          <a:prstGeom prst="rect">
            <a:avLst/>
          </a:prstGeom>
          <a:noFill/>
          <a:ln>
            <a:solidFill>
              <a:srgbClr val="295E7E"/>
            </a:solidFill>
            <a:prstDash val="sys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/>
          <a:lstStyle/>
          <a:p>
            <a:pPr marL="0" lvl="3" algn="ctr">
              <a:defRPr/>
            </a:pPr>
            <a:r>
              <a:rPr lang="ru-RU" sz="1400" b="1" i="1" kern="0" dirty="0">
                <a:solidFill>
                  <a:srgbClr val="3E226F"/>
                </a:solidFill>
                <a:latin typeface="Century Gothic" panose="020B0502020202020204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Результаты ОПР</a:t>
            </a:r>
          </a:p>
          <a:p>
            <a:pPr marL="0" lvl="3">
              <a:defRPr/>
            </a:pPr>
            <a:endParaRPr lang="ru-RU" sz="1400" i="1" kern="0" dirty="0">
              <a:solidFill>
                <a:prstClr val="black"/>
              </a:solidFill>
              <a:latin typeface="Arial Narrow" panose="020B060602020203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3" name="Минус 32"/>
          <p:cNvSpPr/>
          <p:nvPr/>
        </p:nvSpPr>
        <p:spPr>
          <a:xfrm>
            <a:off x="9487113" y="6638750"/>
            <a:ext cx="317030" cy="116815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k-KZ"/>
          </a:p>
        </p:txBody>
      </p:sp>
      <p:sp>
        <p:nvSpPr>
          <p:cNvPr id="42" name="Минус 41"/>
          <p:cNvSpPr/>
          <p:nvPr/>
        </p:nvSpPr>
        <p:spPr>
          <a:xfrm>
            <a:off x="9481128" y="6415059"/>
            <a:ext cx="317030" cy="116815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k-KZ"/>
          </a:p>
        </p:txBody>
      </p:sp>
    </p:spTree>
    <p:extLst>
      <p:ext uri="{BB962C8B-B14F-4D97-AF65-F5344CB8AC3E}">
        <p14:creationId xmlns:p14="http://schemas.microsoft.com/office/powerpoint/2010/main" val="2266377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/>
        </p:nvSpPr>
        <p:spPr>
          <a:xfrm>
            <a:off x="174670" y="102758"/>
            <a:ext cx="1190231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000" b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Bahnschrift" panose="020B0502040204020203" pitchFamily="34" charset="0"/>
                <a:cs typeface="Arial" pitchFamily="34" charset="0"/>
              </a:rPr>
              <a:t>Автоматизация выбора средств индивидуальной защиты </a:t>
            </a:r>
          </a:p>
          <a:p>
            <a:pPr lvl="0">
              <a:defRPr/>
            </a:pPr>
            <a:r>
              <a:rPr lang="ru-RU" sz="2000" b="1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Bahnschrift" panose="020B0502040204020203" pitchFamily="34" charset="0"/>
                <a:cs typeface="Arial" pitchFamily="34" charset="0"/>
              </a:rPr>
              <a:t>на основе оценки профессиональных рисков</a:t>
            </a:r>
            <a:endParaRPr lang="ru-RU" sz="2000" b="1" spc="-1" dirty="0">
              <a:solidFill>
                <a:srgbClr val="002060"/>
              </a:solidFill>
              <a:uFill>
                <a:solidFill>
                  <a:srgbClr val="FFFFFF"/>
                </a:solidFill>
              </a:uFill>
              <a:latin typeface="Bahnschrift" panose="020B0502040204020203" pitchFamily="34" charset="0"/>
              <a:cs typeface="Arial" pitchFamily="34" charset="0"/>
            </a:endParaRPr>
          </a:p>
        </p:txBody>
      </p:sp>
      <p:pic>
        <p:nvPicPr>
          <p:cNvPr id="71" name="Рисунок 70" descr="Исследование">
            <a:extLst>
              <a:ext uri="{FF2B5EF4-FFF2-40B4-BE49-F238E27FC236}">
                <a16:creationId xmlns="" xmlns:a16="http://schemas.microsoft.com/office/drawing/2014/main" id="{A888683A-9E05-C416-E865-8930E54D97B9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8173" y="3186946"/>
            <a:ext cx="737948" cy="807947"/>
          </a:xfrm>
          <a:prstGeom prst="rect">
            <a:avLst/>
          </a:prstGeom>
        </p:spPr>
      </p:pic>
      <p:cxnSp>
        <p:nvCxnSpPr>
          <p:cNvPr id="72" name="Соединительная линия уступом 71"/>
          <p:cNvCxnSpPr/>
          <p:nvPr/>
        </p:nvCxnSpPr>
        <p:spPr>
          <a:xfrm flipV="1">
            <a:off x="1716175" y="4445812"/>
            <a:ext cx="983365" cy="99891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Соединительная линия уступом 72"/>
          <p:cNvCxnSpPr/>
          <p:nvPr/>
        </p:nvCxnSpPr>
        <p:spPr>
          <a:xfrm flipV="1">
            <a:off x="3831026" y="3317944"/>
            <a:ext cx="1000620" cy="948119"/>
          </a:xfrm>
          <a:prstGeom prst="bentConnector3">
            <a:avLst>
              <a:gd name="adj1" fmla="val 50000"/>
            </a:avLst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Рисунок 73" descr="Дождь">
            <a:extLst>
              <a:ext uri="{FF2B5EF4-FFF2-40B4-BE49-F238E27FC236}">
                <a16:creationId xmlns="" xmlns:a16="http://schemas.microsoft.com/office/drawing/2014/main" id="{458DF79A-8884-4CB2-9220-40CCD08EB40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0580" y="4786680"/>
            <a:ext cx="587821" cy="605885"/>
          </a:xfrm>
          <a:prstGeom prst="rect">
            <a:avLst/>
          </a:prstGeom>
        </p:spPr>
      </p:pic>
      <p:cxnSp>
        <p:nvCxnSpPr>
          <p:cNvPr id="77" name="Прямая со стрелкой 76">
            <a:extLst>
              <a:ext uri="{FF2B5EF4-FFF2-40B4-BE49-F238E27FC236}">
                <a16:creationId xmlns="" xmlns:a16="http://schemas.microsoft.com/office/drawing/2014/main" id="{85B0CD5F-084C-4BBA-C449-DE431EB20190}"/>
              </a:ext>
            </a:extLst>
          </p:cNvPr>
          <p:cNvCxnSpPr>
            <a:cxnSpLocks/>
          </p:cNvCxnSpPr>
          <p:nvPr/>
        </p:nvCxnSpPr>
        <p:spPr>
          <a:xfrm flipV="1">
            <a:off x="5515281" y="2959441"/>
            <a:ext cx="1240439" cy="1079"/>
          </a:xfrm>
          <a:prstGeom prst="straightConnector1">
            <a:avLst/>
          </a:prstGeom>
          <a:ln>
            <a:solidFill>
              <a:srgbClr val="ED7D31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Рисунок 77" descr="Исследование">
            <a:extLst>
              <a:ext uri="{FF2B5EF4-FFF2-40B4-BE49-F238E27FC236}">
                <a16:creationId xmlns="" xmlns:a16="http://schemas.microsoft.com/office/drawing/2014/main" id="{A888683A-9E05-C416-E865-8930E54D97B9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7950" y="1930887"/>
            <a:ext cx="683260" cy="748072"/>
          </a:xfrm>
          <a:prstGeom prst="rect">
            <a:avLst/>
          </a:prstGeom>
        </p:spPr>
      </p:pic>
      <p:pic>
        <p:nvPicPr>
          <p:cNvPr id="80" name="Рисунок 79" descr="Строитель">
            <a:extLst>
              <a:ext uri="{FF2B5EF4-FFF2-40B4-BE49-F238E27FC236}">
                <a16:creationId xmlns="" xmlns:a16="http://schemas.microsoft.com/office/drawing/2014/main" id="{8C13EDCD-8FD7-3D3E-EFDD-02711B09804E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139898" y="2129570"/>
            <a:ext cx="937083" cy="1025971"/>
          </a:xfrm>
          <a:prstGeom prst="rect">
            <a:avLst/>
          </a:prstGeom>
        </p:spPr>
      </p:pic>
      <p:pic>
        <p:nvPicPr>
          <p:cNvPr id="81" name="Рисунок 80" descr="Сварщик">
            <a:extLst>
              <a:ext uri="{FF2B5EF4-FFF2-40B4-BE49-F238E27FC236}">
                <a16:creationId xmlns="" xmlns:a16="http://schemas.microsoft.com/office/drawing/2014/main" id="{8EB943BA-9DF4-26FA-6452-B34B40993D76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139898" y="4835877"/>
            <a:ext cx="1009462" cy="1105219"/>
          </a:xfrm>
          <a:prstGeom prst="rect">
            <a:avLst/>
          </a:prstGeom>
        </p:spPr>
      </p:pic>
      <p:sp>
        <p:nvSpPr>
          <p:cNvPr id="84" name="TextBox 83">
            <a:extLst>
              <a:ext uri="{FF2B5EF4-FFF2-40B4-BE49-F238E27FC236}">
                <a16:creationId xmlns="" xmlns:a16="http://schemas.microsoft.com/office/drawing/2014/main" id="{8CF192A1-B08D-3548-0FED-9D37ADB0E02A}"/>
              </a:ext>
            </a:extLst>
          </p:cNvPr>
          <p:cNvSpPr txBox="1"/>
          <p:nvPr/>
        </p:nvSpPr>
        <p:spPr>
          <a:xfrm>
            <a:off x="4772062" y="1891028"/>
            <a:ext cx="1539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193A4F"/>
                </a:solidFill>
              </a:rPr>
              <a:t>АИС</a:t>
            </a:r>
            <a:endParaRPr lang="ru-RU" b="1" dirty="0">
              <a:solidFill>
                <a:srgbClr val="193A4F"/>
              </a:solidFill>
            </a:endParaRPr>
          </a:p>
        </p:txBody>
      </p:sp>
      <p:sp>
        <p:nvSpPr>
          <p:cNvPr id="85" name="Овал 84">
            <a:extLst>
              <a:ext uri="{FF2B5EF4-FFF2-40B4-BE49-F238E27FC236}">
                <a16:creationId xmlns="" xmlns:a16="http://schemas.microsoft.com/office/drawing/2014/main" id="{C4F21B2E-AE26-7C50-B901-5B498386A7BD}"/>
              </a:ext>
            </a:extLst>
          </p:cNvPr>
          <p:cNvSpPr/>
          <p:nvPr/>
        </p:nvSpPr>
        <p:spPr>
          <a:xfrm>
            <a:off x="503225" y="2592280"/>
            <a:ext cx="151459" cy="156113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="" xmlns:a16="http://schemas.microsoft.com/office/drawing/2014/main" id="{72B13D93-0F88-8912-FA8B-B8C7DD064BB2}"/>
              </a:ext>
            </a:extLst>
          </p:cNvPr>
          <p:cNvSpPr txBox="1"/>
          <p:nvPr/>
        </p:nvSpPr>
        <p:spPr>
          <a:xfrm>
            <a:off x="4659691" y="4786680"/>
            <a:ext cx="133429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ирование  комплекта на основе данных согласно перечню</a:t>
            </a:r>
            <a:endParaRPr lang="ru-RU" sz="1000" b="1" dirty="0">
              <a:solidFill>
                <a:srgbClr val="295E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3" name="Рисунок 92" descr="Программист">
            <a:extLst>
              <a:ext uri="{FF2B5EF4-FFF2-40B4-BE49-F238E27FC236}">
                <a16:creationId xmlns="" xmlns:a16="http://schemas.microsoft.com/office/drawing/2014/main" id="{934DFBBD-7C28-4C05-BCAA-7C82281B08E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891581" y="3451378"/>
            <a:ext cx="1076971" cy="1110068"/>
          </a:xfrm>
          <a:prstGeom prst="rect">
            <a:avLst/>
          </a:prstGeom>
        </p:spPr>
      </p:pic>
      <p:sp>
        <p:nvSpPr>
          <p:cNvPr id="95" name="TextBox 94">
            <a:extLst>
              <a:ext uri="{FF2B5EF4-FFF2-40B4-BE49-F238E27FC236}">
                <a16:creationId xmlns="" xmlns:a16="http://schemas.microsoft.com/office/drawing/2014/main" id="{8063DAE2-E5A9-B5AD-AE05-A4B010C63F1A}"/>
              </a:ext>
            </a:extLst>
          </p:cNvPr>
          <p:cNvSpPr txBox="1"/>
          <p:nvPr/>
        </p:nvSpPr>
        <p:spPr>
          <a:xfrm>
            <a:off x="-99009" y="3802929"/>
            <a:ext cx="208305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общих производственных загрязнений</a:t>
            </a:r>
            <a:endParaRPr lang="ru-RU" sz="1000" b="1" dirty="0">
              <a:solidFill>
                <a:srgbClr val="295E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8" name="Рисунок 97" descr="Краска">
            <a:extLst>
              <a:ext uri="{FF2B5EF4-FFF2-40B4-BE49-F238E27FC236}">
                <a16:creationId xmlns="" xmlns:a16="http://schemas.microsoft.com/office/drawing/2014/main" id="{D26E0B85-B010-4232-938F-94BEB12876D8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86772" y="3176050"/>
            <a:ext cx="525651" cy="541806"/>
          </a:xfrm>
          <a:prstGeom prst="rect">
            <a:avLst/>
          </a:prstGeom>
        </p:spPr>
      </p:pic>
      <p:pic>
        <p:nvPicPr>
          <p:cNvPr id="99" name="Рисунок 98" descr="Мыло">
            <a:extLst>
              <a:ext uri="{FF2B5EF4-FFF2-40B4-BE49-F238E27FC236}">
                <a16:creationId xmlns="" xmlns:a16="http://schemas.microsoft.com/office/drawing/2014/main" id="{3DCEDB1C-499C-40EB-B54E-AFE0FCB790BD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238510" y="3668706"/>
            <a:ext cx="380526" cy="392219"/>
          </a:xfrm>
          <a:prstGeom prst="rect">
            <a:avLst/>
          </a:prstGeom>
        </p:spPr>
      </p:pic>
      <p:pic>
        <p:nvPicPr>
          <p:cNvPr id="101" name="Рисунок 100" descr="Растение">
            <a:extLst>
              <a:ext uri="{FF2B5EF4-FFF2-40B4-BE49-F238E27FC236}">
                <a16:creationId xmlns="" xmlns:a16="http://schemas.microsoft.com/office/drawing/2014/main" id="{400EA048-38D8-4ED9-84B0-52CDF0A3ED81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83889" y="2959441"/>
            <a:ext cx="457071" cy="471118"/>
          </a:xfrm>
          <a:prstGeom prst="rect">
            <a:avLst/>
          </a:prstGeom>
        </p:spPr>
      </p:pic>
      <p:pic>
        <p:nvPicPr>
          <p:cNvPr id="104" name="Рисунок 103" descr="Подъемный кран">
            <a:extLst>
              <a:ext uri="{FF2B5EF4-FFF2-40B4-BE49-F238E27FC236}">
                <a16:creationId xmlns="" xmlns:a16="http://schemas.microsoft.com/office/drawing/2014/main" id="{F11E93BB-4ED9-4011-8F6B-972A75DF3370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69164" y="1390352"/>
            <a:ext cx="961764" cy="991320"/>
          </a:xfrm>
          <a:prstGeom prst="rect">
            <a:avLst/>
          </a:prstGeom>
        </p:spPr>
      </p:pic>
      <p:pic>
        <p:nvPicPr>
          <p:cNvPr id="106" name="Рисунок 105" descr="Полотно пилы">
            <a:extLst>
              <a:ext uri="{FF2B5EF4-FFF2-40B4-BE49-F238E27FC236}">
                <a16:creationId xmlns="" xmlns:a16="http://schemas.microsoft.com/office/drawing/2014/main" id="{7B1925C9-6003-4FB4-8255-FBFF0B1A978A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01938" y="2072523"/>
            <a:ext cx="520654" cy="536654"/>
          </a:xfrm>
          <a:prstGeom prst="rect">
            <a:avLst/>
          </a:prstGeom>
        </p:spPr>
      </p:pic>
      <p:pic>
        <p:nvPicPr>
          <p:cNvPr id="108" name="Рисунок 107" descr="Солнце">
            <a:extLst>
              <a:ext uri="{FF2B5EF4-FFF2-40B4-BE49-F238E27FC236}">
                <a16:creationId xmlns="" xmlns:a16="http://schemas.microsoft.com/office/drawing/2014/main" id="{A9CBAC52-8801-45C5-B01E-D31ADFF4E265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763917" y="4311319"/>
            <a:ext cx="600187" cy="618631"/>
          </a:xfrm>
          <a:prstGeom prst="rect">
            <a:avLst/>
          </a:prstGeom>
        </p:spPr>
      </p:pic>
      <p:pic>
        <p:nvPicPr>
          <p:cNvPr id="109" name="Рисунок 108" descr="База данных">
            <a:extLst>
              <a:ext uri="{FF2B5EF4-FFF2-40B4-BE49-F238E27FC236}">
                <a16:creationId xmlns="" xmlns:a16="http://schemas.microsoft.com/office/drawing/2014/main" id="{88120E16-0744-461F-9956-063F2CCFE10A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448335" y="1708191"/>
            <a:ext cx="437321" cy="450761"/>
          </a:xfrm>
          <a:prstGeom prst="rect">
            <a:avLst/>
          </a:prstGeom>
        </p:spPr>
      </p:pic>
      <p:pic>
        <p:nvPicPr>
          <p:cNvPr id="111" name="Рисунок 110" descr="Исследование">
            <a:extLst>
              <a:ext uri="{FF2B5EF4-FFF2-40B4-BE49-F238E27FC236}">
                <a16:creationId xmlns="" xmlns:a16="http://schemas.microsoft.com/office/drawing/2014/main" id="{A888683A-9E05-C416-E865-8930E54D97B9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6481" y="4671174"/>
            <a:ext cx="683260" cy="748072"/>
          </a:xfrm>
          <a:prstGeom prst="rect">
            <a:avLst/>
          </a:prstGeom>
        </p:spPr>
      </p:pic>
      <p:sp>
        <p:nvSpPr>
          <p:cNvPr id="112" name="TextBox 111">
            <a:extLst>
              <a:ext uri="{FF2B5EF4-FFF2-40B4-BE49-F238E27FC236}">
                <a16:creationId xmlns="" xmlns:a16="http://schemas.microsoft.com/office/drawing/2014/main" id="{8063DAE2-E5A9-B5AD-AE05-A4B010C63F1A}"/>
              </a:ext>
            </a:extLst>
          </p:cNvPr>
          <p:cNvSpPr txBox="1"/>
          <p:nvPr/>
        </p:nvSpPr>
        <p:spPr>
          <a:xfrm>
            <a:off x="289081" y="5247820"/>
            <a:ext cx="13741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климатических </a:t>
            </a:r>
          </a:p>
          <a:p>
            <a:pPr algn="ctr"/>
            <a:r>
              <a:rPr lang="ru-RU" sz="100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овий</a:t>
            </a:r>
            <a:endParaRPr lang="ru-RU" sz="1000" b="1" dirty="0">
              <a:solidFill>
                <a:srgbClr val="295E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4" name="Рисунок 113" descr="Термометр">
            <a:extLst>
              <a:ext uri="{FF2B5EF4-FFF2-40B4-BE49-F238E27FC236}">
                <a16:creationId xmlns="" xmlns:a16="http://schemas.microsoft.com/office/drawing/2014/main" id="{5EE7E775-EA3C-45A0-85C4-CF2CE9CCFB57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306437" y="4776217"/>
            <a:ext cx="576145" cy="593851"/>
          </a:xfrm>
          <a:prstGeom prst="rect">
            <a:avLst/>
          </a:prstGeom>
        </p:spPr>
      </p:pic>
      <p:pic>
        <p:nvPicPr>
          <p:cNvPr id="117" name="Рисунок 116" descr="Снежинка">
            <a:extLst>
              <a:ext uri="{FF2B5EF4-FFF2-40B4-BE49-F238E27FC236}">
                <a16:creationId xmlns="" xmlns:a16="http://schemas.microsoft.com/office/drawing/2014/main" id="{CD2A6264-F064-46DC-BC3F-40E51E340791}"/>
              </a:ext>
            </a:extLst>
          </p:cNvPr>
          <p:cNvPicPr>
            <a:picLocks noChangeAspect="1"/>
          </p:cNvPicPr>
          <p:nvPr/>
        </p:nvPicPr>
        <p:blipFill>
          <a:blip r:embed="rId31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380581" y="4347400"/>
            <a:ext cx="564868" cy="582227"/>
          </a:xfrm>
          <a:prstGeom prst="rect">
            <a:avLst/>
          </a:prstGeom>
        </p:spPr>
      </p:pic>
      <p:sp>
        <p:nvSpPr>
          <p:cNvPr id="120" name="Овал 119">
            <a:extLst>
              <a:ext uri="{FF2B5EF4-FFF2-40B4-BE49-F238E27FC236}">
                <a16:creationId xmlns="" xmlns:a16="http://schemas.microsoft.com/office/drawing/2014/main" id="{C4F21B2E-AE26-7C50-B901-5B498386A7BD}"/>
              </a:ext>
            </a:extLst>
          </p:cNvPr>
          <p:cNvSpPr/>
          <p:nvPr/>
        </p:nvSpPr>
        <p:spPr>
          <a:xfrm>
            <a:off x="306437" y="3847449"/>
            <a:ext cx="151459" cy="156113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21" name="Овал 120">
            <a:extLst>
              <a:ext uri="{FF2B5EF4-FFF2-40B4-BE49-F238E27FC236}">
                <a16:creationId xmlns="" xmlns:a16="http://schemas.microsoft.com/office/drawing/2014/main" id="{C4F21B2E-AE26-7C50-B901-5B498386A7BD}"/>
              </a:ext>
            </a:extLst>
          </p:cNvPr>
          <p:cNvSpPr/>
          <p:nvPr/>
        </p:nvSpPr>
        <p:spPr>
          <a:xfrm>
            <a:off x="303943" y="5352424"/>
            <a:ext cx="151459" cy="156113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122" name="Прямая со стрелкой 121">
            <a:extLst>
              <a:ext uri="{FF2B5EF4-FFF2-40B4-BE49-F238E27FC236}">
                <a16:creationId xmlns="" xmlns:a16="http://schemas.microsoft.com/office/drawing/2014/main" id="{A7F7545E-C5F6-2C1E-EFCF-7E54BA51D910}"/>
              </a:ext>
            </a:extLst>
          </p:cNvPr>
          <p:cNvCxnSpPr>
            <a:cxnSpLocks/>
          </p:cNvCxnSpPr>
          <p:nvPr/>
        </p:nvCxnSpPr>
        <p:spPr>
          <a:xfrm>
            <a:off x="1749914" y="4100803"/>
            <a:ext cx="9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Соединительная линия уступом 125"/>
          <p:cNvCxnSpPr/>
          <p:nvPr/>
        </p:nvCxnSpPr>
        <p:spPr>
          <a:xfrm>
            <a:off x="1725072" y="2793091"/>
            <a:ext cx="983365" cy="99891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6">
            <a:extLst>
              <a:ext uri="{FF2B5EF4-FFF2-40B4-BE49-F238E27FC236}">
                <a16:creationId xmlns="" xmlns:a16="http://schemas.microsoft.com/office/drawing/2014/main" id="{72B13D93-0F88-8912-FA8B-B8C7DD064BB2}"/>
              </a:ext>
            </a:extLst>
          </p:cNvPr>
          <p:cNvSpPr txBox="1"/>
          <p:nvPr/>
        </p:nvSpPr>
        <p:spPr>
          <a:xfrm>
            <a:off x="2885282" y="4497312"/>
            <a:ext cx="13025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од данных в АИС</a:t>
            </a:r>
            <a:endParaRPr lang="ru-RU" sz="1000" b="1" dirty="0">
              <a:solidFill>
                <a:srgbClr val="295E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Овал 129">
            <a:extLst>
              <a:ext uri="{FF2B5EF4-FFF2-40B4-BE49-F238E27FC236}">
                <a16:creationId xmlns="" xmlns:a16="http://schemas.microsoft.com/office/drawing/2014/main" id="{C4F21B2E-AE26-7C50-B901-5B498386A7BD}"/>
              </a:ext>
            </a:extLst>
          </p:cNvPr>
          <p:cNvSpPr/>
          <p:nvPr/>
        </p:nvSpPr>
        <p:spPr>
          <a:xfrm>
            <a:off x="2796502" y="4483241"/>
            <a:ext cx="151459" cy="156113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33" name="Овал 132">
            <a:extLst>
              <a:ext uri="{FF2B5EF4-FFF2-40B4-BE49-F238E27FC236}">
                <a16:creationId xmlns="" xmlns:a16="http://schemas.microsoft.com/office/drawing/2014/main" id="{C4F21B2E-AE26-7C50-B901-5B498386A7BD}"/>
              </a:ext>
            </a:extLst>
          </p:cNvPr>
          <p:cNvSpPr/>
          <p:nvPr/>
        </p:nvSpPr>
        <p:spPr>
          <a:xfrm>
            <a:off x="4616732" y="4790391"/>
            <a:ext cx="151459" cy="156113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</a:rPr>
              <a:t>5</a:t>
            </a:r>
          </a:p>
        </p:txBody>
      </p:sp>
      <p:cxnSp>
        <p:nvCxnSpPr>
          <p:cNvPr id="135" name="Прямая со стрелкой 134">
            <a:extLst>
              <a:ext uri="{FF2B5EF4-FFF2-40B4-BE49-F238E27FC236}">
                <a16:creationId xmlns="" xmlns:a16="http://schemas.microsoft.com/office/drawing/2014/main" id="{A7F7545E-C5F6-2C1E-EFCF-7E54BA51D910}"/>
              </a:ext>
            </a:extLst>
          </p:cNvPr>
          <p:cNvCxnSpPr>
            <a:cxnSpLocks/>
          </p:cNvCxnSpPr>
          <p:nvPr/>
        </p:nvCxnSpPr>
        <p:spPr>
          <a:xfrm>
            <a:off x="5054064" y="3358637"/>
            <a:ext cx="0" cy="6884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2" name="Рисунок 141" descr="Отзыв клиента (справа налево)">
            <a:extLst>
              <a:ext uri="{FF2B5EF4-FFF2-40B4-BE49-F238E27FC236}">
                <a16:creationId xmlns="" xmlns:a16="http://schemas.microsoft.com/office/drawing/2014/main" id="{F3537FBD-9AA5-CDC8-FACF-02AA2C9C51A8}"/>
              </a:ext>
            </a:extLst>
          </p:cNvPr>
          <p:cNvPicPr>
            <a:picLocks noChangeAspect="1"/>
          </p:cNvPicPr>
          <p:nvPr/>
        </p:nvPicPr>
        <p:blipFill>
          <a:blip r:embed="rId3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96DAC541-7B7A-43D3-8B79-37D633B846F1}">
                <asvg:svgBlip xmlns=""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5939762" y="3372139"/>
            <a:ext cx="1328830" cy="1454876"/>
          </a:xfrm>
          <a:prstGeom prst="rect">
            <a:avLst/>
          </a:prstGeom>
        </p:spPr>
      </p:pic>
      <p:sp>
        <p:nvSpPr>
          <p:cNvPr id="145" name="TextBox 144">
            <a:extLst>
              <a:ext uri="{FF2B5EF4-FFF2-40B4-BE49-F238E27FC236}">
                <a16:creationId xmlns="" xmlns:a16="http://schemas.microsoft.com/office/drawing/2014/main" id="{6ED27509-F3E1-2881-316B-D1C15AC274E8}"/>
              </a:ext>
            </a:extLst>
          </p:cNvPr>
          <p:cNvSpPr txBox="1"/>
          <p:nvPr/>
        </p:nvSpPr>
        <p:spPr>
          <a:xfrm>
            <a:off x="6206454" y="4786680"/>
            <a:ext cx="1283291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сование с Производственным советом/ представителями работников</a:t>
            </a:r>
            <a:endParaRPr lang="ru-RU" sz="1000" b="1" dirty="0">
              <a:solidFill>
                <a:srgbClr val="295E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1" name="Овал 150">
            <a:extLst>
              <a:ext uri="{FF2B5EF4-FFF2-40B4-BE49-F238E27FC236}">
                <a16:creationId xmlns="" xmlns:a16="http://schemas.microsoft.com/office/drawing/2014/main" id="{51951470-49A6-82F2-FEBD-D228449D4125}"/>
              </a:ext>
            </a:extLst>
          </p:cNvPr>
          <p:cNvSpPr/>
          <p:nvPr/>
        </p:nvSpPr>
        <p:spPr>
          <a:xfrm>
            <a:off x="6109779" y="4870955"/>
            <a:ext cx="151459" cy="156113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</a:rPr>
              <a:t>6</a:t>
            </a:r>
          </a:p>
        </p:txBody>
      </p:sp>
      <p:cxnSp>
        <p:nvCxnSpPr>
          <p:cNvPr id="152" name="Прямая со стрелкой 151">
            <a:extLst>
              <a:ext uri="{FF2B5EF4-FFF2-40B4-BE49-F238E27FC236}">
                <a16:creationId xmlns="" xmlns:a16="http://schemas.microsoft.com/office/drawing/2014/main" id="{A7F7545E-C5F6-2C1E-EFCF-7E54BA51D910}"/>
              </a:ext>
            </a:extLst>
          </p:cNvPr>
          <p:cNvCxnSpPr>
            <a:cxnSpLocks/>
          </p:cNvCxnSpPr>
          <p:nvPr/>
        </p:nvCxnSpPr>
        <p:spPr>
          <a:xfrm>
            <a:off x="5318013" y="4471047"/>
            <a:ext cx="73698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Прямая со стрелкой 152">
            <a:extLst>
              <a:ext uri="{FF2B5EF4-FFF2-40B4-BE49-F238E27FC236}">
                <a16:creationId xmlns="" xmlns:a16="http://schemas.microsoft.com/office/drawing/2014/main" id="{A7F7545E-C5F6-2C1E-EFCF-7E54BA51D910}"/>
              </a:ext>
            </a:extLst>
          </p:cNvPr>
          <p:cNvCxnSpPr>
            <a:cxnSpLocks/>
          </p:cNvCxnSpPr>
          <p:nvPr/>
        </p:nvCxnSpPr>
        <p:spPr>
          <a:xfrm>
            <a:off x="7061210" y="4403023"/>
            <a:ext cx="100556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4" name="Рисунок 153" descr="Офисный работник">
            <a:extLst>
              <a:ext uri="{FF2B5EF4-FFF2-40B4-BE49-F238E27FC236}">
                <a16:creationId xmlns="" xmlns:a16="http://schemas.microsoft.com/office/drawing/2014/main" id="{20779FB3-7816-4911-92AC-7A4EAC98D787}"/>
              </a:ext>
            </a:extLst>
          </p:cNvPr>
          <p:cNvPicPr>
            <a:picLocks noChangeAspect="1"/>
          </p:cNvPicPr>
          <p:nvPr/>
        </p:nvPicPr>
        <p:blipFill>
          <a:blip r:embed="rId3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7941131" y="3464423"/>
            <a:ext cx="1130548" cy="1165292"/>
          </a:xfrm>
          <a:prstGeom prst="rect">
            <a:avLst/>
          </a:prstGeom>
        </p:spPr>
      </p:pic>
      <p:sp>
        <p:nvSpPr>
          <p:cNvPr id="156" name="TextBox 155">
            <a:extLst>
              <a:ext uri="{FF2B5EF4-FFF2-40B4-BE49-F238E27FC236}">
                <a16:creationId xmlns="" xmlns:a16="http://schemas.microsoft.com/office/drawing/2014/main" id="{6ED27509-F3E1-2881-316B-D1C15AC274E8}"/>
              </a:ext>
            </a:extLst>
          </p:cNvPr>
          <p:cNvSpPr txBox="1"/>
          <p:nvPr/>
        </p:nvSpPr>
        <p:spPr>
          <a:xfrm>
            <a:off x="7848732" y="4525547"/>
            <a:ext cx="12978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ение и обеспечение</a:t>
            </a:r>
            <a:endParaRPr lang="ru-RU" sz="1000" b="1" dirty="0">
              <a:solidFill>
                <a:srgbClr val="295E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7" name="Овал 156">
            <a:extLst>
              <a:ext uri="{FF2B5EF4-FFF2-40B4-BE49-F238E27FC236}">
                <a16:creationId xmlns="" xmlns:a16="http://schemas.microsoft.com/office/drawing/2014/main" id="{51951470-49A6-82F2-FEBD-D228449D4125}"/>
              </a:ext>
            </a:extLst>
          </p:cNvPr>
          <p:cNvSpPr/>
          <p:nvPr/>
        </p:nvSpPr>
        <p:spPr>
          <a:xfrm>
            <a:off x="7733494" y="4557551"/>
            <a:ext cx="151459" cy="156113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</a:rPr>
              <a:t>7</a:t>
            </a:r>
          </a:p>
        </p:txBody>
      </p:sp>
      <p:pic>
        <p:nvPicPr>
          <p:cNvPr id="158" name="Рисунок 157" descr="Шеф-повар">
            <a:extLst>
              <a:ext uri="{FF2B5EF4-FFF2-40B4-BE49-F238E27FC236}">
                <a16:creationId xmlns="" xmlns:a16="http://schemas.microsoft.com/office/drawing/2014/main" id="{861F0DD7-16E3-411A-94CA-0C3166285A61}"/>
              </a:ext>
            </a:extLst>
          </p:cNvPr>
          <p:cNvPicPr>
            <a:picLocks noChangeAspect="1"/>
          </p:cNvPicPr>
          <p:nvPr/>
        </p:nvPicPr>
        <p:blipFill>
          <a:blip r:embed="rId3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1246983" y="3902314"/>
            <a:ext cx="798145" cy="957312"/>
          </a:xfrm>
          <a:prstGeom prst="rect">
            <a:avLst/>
          </a:prstGeom>
        </p:spPr>
      </p:pic>
      <p:pic>
        <p:nvPicPr>
          <p:cNvPr id="159" name="Рисунок 158" descr="Язык жестов">
            <a:extLst>
              <a:ext uri="{FF2B5EF4-FFF2-40B4-BE49-F238E27FC236}">
                <a16:creationId xmlns="" xmlns:a16="http://schemas.microsoft.com/office/drawing/2014/main" id="{FEC88C8B-2D1F-458B-964D-F4A2405E0E15}"/>
              </a:ext>
            </a:extLst>
          </p:cNvPr>
          <p:cNvPicPr>
            <a:picLocks noChangeAspect="1"/>
          </p:cNvPicPr>
          <p:nvPr/>
        </p:nvPicPr>
        <p:blipFill>
          <a:blip r:embed="rId39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9295435" y="3672485"/>
            <a:ext cx="548485" cy="565340"/>
          </a:xfrm>
          <a:prstGeom prst="rect">
            <a:avLst/>
          </a:prstGeom>
        </p:spPr>
      </p:pic>
      <p:pic>
        <p:nvPicPr>
          <p:cNvPr id="160" name="Рисунок 159" descr="Наушники">
            <a:extLst>
              <a:ext uri="{FF2B5EF4-FFF2-40B4-BE49-F238E27FC236}">
                <a16:creationId xmlns="" xmlns:a16="http://schemas.microsoft.com/office/drawing/2014/main" id="{A77CBB01-6C35-4B71-9043-BDB830B35FB2}"/>
              </a:ext>
            </a:extLst>
          </p:cNvPr>
          <p:cNvPicPr>
            <a:picLocks noChangeAspect="1"/>
          </p:cNvPicPr>
          <p:nvPr/>
        </p:nvPicPr>
        <p:blipFill>
          <a:blip r:embed="rId41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9729331" y="3629177"/>
            <a:ext cx="416546" cy="429347"/>
          </a:xfrm>
          <a:prstGeom prst="rect">
            <a:avLst/>
          </a:prstGeom>
        </p:spPr>
      </p:pic>
      <p:pic>
        <p:nvPicPr>
          <p:cNvPr id="161" name="Рисунок 160" descr="Гарнитура виртуальной реальности">
            <a:extLst>
              <a:ext uri="{FF2B5EF4-FFF2-40B4-BE49-F238E27FC236}">
                <a16:creationId xmlns="" xmlns:a16="http://schemas.microsoft.com/office/drawing/2014/main" id="{8655C22E-113B-47C5-8EC0-6103539B861E}"/>
              </a:ext>
            </a:extLst>
          </p:cNvPr>
          <p:cNvPicPr>
            <a:picLocks noChangeAspect="1"/>
          </p:cNvPicPr>
          <p:nvPr/>
        </p:nvPicPr>
        <p:blipFill>
          <a:blip r:embed="rId43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9591416" y="4212360"/>
            <a:ext cx="290838" cy="299775"/>
          </a:xfrm>
          <a:prstGeom prst="rect">
            <a:avLst/>
          </a:prstGeom>
        </p:spPr>
      </p:pic>
      <p:pic>
        <p:nvPicPr>
          <p:cNvPr id="162" name="Рисунок 161" descr="Ботинок">
            <a:extLst>
              <a:ext uri="{FF2B5EF4-FFF2-40B4-BE49-F238E27FC236}">
                <a16:creationId xmlns="" xmlns:a16="http://schemas.microsoft.com/office/drawing/2014/main" id="{9698B583-58BB-4F8C-ABED-365E1CE831EF}"/>
              </a:ext>
            </a:extLst>
          </p:cNvPr>
          <p:cNvPicPr>
            <a:picLocks noChangeAspect="1"/>
          </p:cNvPicPr>
          <p:nvPr/>
        </p:nvPicPr>
        <p:blipFill>
          <a:blip r:embed="rId45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10313175" y="3911707"/>
            <a:ext cx="400015" cy="412308"/>
          </a:xfrm>
          <a:prstGeom prst="rect">
            <a:avLst/>
          </a:prstGeom>
        </p:spPr>
      </p:pic>
      <p:pic>
        <p:nvPicPr>
          <p:cNvPr id="163" name="Рисунок 162" descr="Брюки">
            <a:extLst>
              <a:ext uri="{FF2B5EF4-FFF2-40B4-BE49-F238E27FC236}">
                <a16:creationId xmlns="" xmlns:a16="http://schemas.microsoft.com/office/drawing/2014/main" id="{8364165E-EEBE-4BB6-9FA9-3997F474EDD0}"/>
              </a:ext>
            </a:extLst>
          </p:cNvPr>
          <p:cNvPicPr>
            <a:picLocks noChangeAspect="1"/>
          </p:cNvPicPr>
          <p:nvPr/>
        </p:nvPicPr>
        <p:blipFill>
          <a:blip r:embed="rId47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9783457" y="4324015"/>
            <a:ext cx="467622" cy="481993"/>
          </a:xfrm>
          <a:prstGeom prst="rect">
            <a:avLst/>
          </a:prstGeom>
        </p:spPr>
      </p:pic>
      <p:pic>
        <p:nvPicPr>
          <p:cNvPr id="164" name="Рисунок 163" descr="Рубашка">
            <a:extLst>
              <a:ext uri="{FF2B5EF4-FFF2-40B4-BE49-F238E27FC236}">
                <a16:creationId xmlns="" xmlns:a16="http://schemas.microsoft.com/office/drawing/2014/main" id="{AC54AAC9-9320-42EB-B817-E41437116467}"/>
              </a:ext>
            </a:extLst>
          </p:cNvPr>
          <p:cNvPicPr>
            <a:picLocks noChangeAspect="1"/>
          </p:cNvPicPr>
          <p:nvPr/>
        </p:nvPicPr>
        <p:blipFill>
          <a:blip r:embed="rId49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0128011" y="4228291"/>
            <a:ext cx="459722" cy="473850"/>
          </a:xfrm>
          <a:prstGeom prst="rect">
            <a:avLst/>
          </a:prstGeom>
        </p:spPr>
      </p:pic>
      <p:pic>
        <p:nvPicPr>
          <p:cNvPr id="165" name="Рисунок 164" descr="Варежки">
            <a:extLst>
              <a:ext uri="{FF2B5EF4-FFF2-40B4-BE49-F238E27FC236}">
                <a16:creationId xmlns="" xmlns:a16="http://schemas.microsoft.com/office/drawing/2014/main" id="{60163935-1A36-4377-A710-FC69C71E2128}"/>
              </a:ext>
            </a:extLst>
          </p:cNvPr>
          <p:cNvPicPr>
            <a:picLocks noChangeAspect="1"/>
          </p:cNvPicPr>
          <p:nvPr/>
        </p:nvPicPr>
        <p:blipFill>
          <a:blip r:embed="rId51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9742947" y="3983966"/>
            <a:ext cx="425574" cy="438652"/>
          </a:xfrm>
          <a:prstGeom prst="rect">
            <a:avLst/>
          </a:prstGeom>
        </p:spPr>
      </p:pic>
      <p:pic>
        <p:nvPicPr>
          <p:cNvPr id="166" name="Рисунок 165" descr="Ученый">
            <a:extLst>
              <a:ext uri="{FF2B5EF4-FFF2-40B4-BE49-F238E27FC236}">
                <a16:creationId xmlns="" xmlns:a16="http://schemas.microsoft.com/office/drawing/2014/main" id="{FB268946-225B-4E98-AF5E-D436B5231089}"/>
              </a:ext>
            </a:extLst>
          </p:cNvPr>
          <p:cNvPicPr>
            <a:picLocks noChangeAspect="1"/>
          </p:cNvPicPr>
          <p:nvPr/>
        </p:nvPicPr>
        <p:blipFill>
          <a:blip r:embed="rId5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11246983" y="2947976"/>
            <a:ext cx="872096" cy="898897"/>
          </a:xfrm>
          <a:prstGeom prst="rect">
            <a:avLst/>
          </a:prstGeom>
        </p:spPr>
      </p:pic>
      <p:pic>
        <p:nvPicPr>
          <p:cNvPr id="167" name="Рисунок 166" descr="Зимняя шапка">
            <a:extLst>
              <a:ext uri="{FF2B5EF4-FFF2-40B4-BE49-F238E27FC236}">
                <a16:creationId xmlns="" xmlns:a16="http://schemas.microsoft.com/office/drawing/2014/main" id="{93128451-ED40-472D-A525-643E8D7B7ADA}"/>
              </a:ext>
            </a:extLst>
          </p:cNvPr>
          <p:cNvPicPr>
            <a:picLocks noChangeAspect="1"/>
          </p:cNvPicPr>
          <p:nvPr/>
        </p:nvPicPr>
        <p:blipFill>
          <a:blip r:embed="rId55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10000309" y="3864816"/>
            <a:ext cx="364770" cy="375981"/>
          </a:xfrm>
          <a:prstGeom prst="rect">
            <a:avLst/>
          </a:prstGeom>
        </p:spPr>
      </p:pic>
      <p:pic>
        <p:nvPicPr>
          <p:cNvPr id="168" name="Picture 8" descr="Корзина покупок PNG"/>
          <p:cNvPicPr>
            <a:picLocks noChangeAspect="1" noChangeArrowheads="1"/>
          </p:cNvPicPr>
          <p:nvPr/>
        </p:nvPicPr>
        <p:blipFill>
          <a:blip r:embed="rId5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477" y="4084831"/>
            <a:ext cx="1436049" cy="1281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9" name="TextBox 168">
            <a:extLst>
              <a:ext uri="{FF2B5EF4-FFF2-40B4-BE49-F238E27FC236}">
                <a16:creationId xmlns="" xmlns:a16="http://schemas.microsoft.com/office/drawing/2014/main" id="{8063DAE2-E5A9-B5AD-AE05-A4B010C63F1A}"/>
              </a:ext>
            </a:extLst>
          </p:cNvPr>
          <p:cNvSpPr txBox="1"/>
          <p:nvPr/>
        </p:nvSpPr>
        <p:spPr>
          <a:xfrm>
            <a:off x="-26005" y="2565521"/>
            <a:ext cx="20768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</a:t>
            </a:r>
          </a:p>
          <a:p>
            <a:pPr algn="ctr"/>
            <a:r>
              <a:rPr lang="ru-RU" sz="100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ональных рисков</a:t>
            </a:r>
            <a:endParaRPr lang="ru-RU" sz="1000" b="1" dirty="0">
              <a:solidFill>
                <a:srgbClr val="295E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Овал 1">
            <a:extLst>
              <a:ext uri="{FF2B5EF4-FFF2-40B4-BE49-F238E27FC236}">
                <a16:creationId xmlns="" xmlns:a16="http://schemas.microsoft.com/office/drawing/2014/main" id="{EADFBBA8-7F29-FF06-65B3-307FF6C07FCC}"/>
              </a:ext>
            </a:extLst>
          </p:cNvPr>
          <p:cNvSpPr/>
          <p:nvPr/>
        </p:nvSpPr>
        <p:spPr>
          <a:xfrm>
            <a:off x="6872561" y="2807561"/>
            <a:ext cx="155270" cy="144000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8C3DB1FD-65F3-BBBB-5DA3-91BC4E0EAD23}"/>
              </a:ext>
            </a:extLst>
          </p:cNvPr>
          <p:cNvSpPr txBox="1"/>
          <p:nvPr/>
        </p:nvSpPr>
        <p:spPr>
          <a:xfrm>
            <a:off x="6992086" y="2761854"/>
            <a:ext cx="18853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вентивный контроль</a:t>
            </a:r>
            <a:endParaRPr lang="ru-RU" sz="1000" b="1" dirty="0">
              <a:solidFill>
                <a:srgbClr val="295E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8F5B37E1-9392-097B-324C-B4A4310D77E7}"/>
              </a:ext>
            </a:extLst>
          </p:cNvPr>
          <p:cNvPicPr>
            <a:picLocks noChangeAspect="1"/>
          </p:cNvPicPr>
          <p:nvPr/>
        </p:nvPicPr>
        <p:blipFill>
          <a:blip r:embed="rId5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1524" y="2195678"/>
            <a:ext cx="1018190" cy="560701"/>
          </a:xfrm>
          <a:prstGeom prst="rect">
            <a:avLst/>
          </a:prstGeom>
        </p:spPr>
      </p:pic>
      <p:pic>
        <p:nvPicPr>
          <p:cNvPr id="7" name="Рисунок 6" descr="Банк">
            <a:extLst>
              <a:ext uri="{FF2B5EF4-FFF2-40B4-BE49-F238E27FC236}">
                <a16:creationId xmlns="" xmlns:a16="http://schemas.microsoft.com/office/drawing/2014/main" id="{9540BE22-82BD-4083-5BF2-2B5FA9A3B19C}"/>
              </a:ext>
            </a:extLst>
          </p:cNvPr>
          <p:cNvPicPr>
            <a:picLocks noChangeAspect="1"/>
          </p:cNvPicPr>
          <p:nvPr/>
        </p:nvPicPr>
        <p:blipFill>
          <a:blip r:embed="rId59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96DAC541-7B7A-43D3-8B79-37D633B846F1}">
                <asvg:svgBlip xmlns=""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9022529" y="1462929"/>
            <a:ext cx="960103" cy="101983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A7A37EC5-F306-06A8-1E73-A5D981B68CAA}"/>
              </a:ext>
            </a:extLst>
          </p:cNvPr>
          <p:cNvSpPr txBox="1"/>
          <p:nvPr/>
        </p:nvSpPr>
        <p:spPr>
          <a:xfrm>
            <a:off x="9082555" y="1281859"/>
            <a:ext cx="10287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193A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ТСЗН РК</a:t>
            </a:r>
            <a:endParaRPr lang="ru-RU" sz="1200" b="1" dirty="0">
              <a:solidFill>
                <a:srgbClr val="193A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Овал 8">
            <a:extLst>
              <a:ext uri="{FF2B5EF4-FFF2-40B4-BE49-F238E27FC236}">
                <a16:creationId xmlns="" xmlns:a16="http://schemas.microsoft.com/office/drawing/2014/main" id="{73374E00-A14A-8860-B8CE-4A667AEA57BE}"/>
              </a:ext>
            </a:extLst>
          </p:cNvPr>
          <p:cNvSpPr/>
          <p:nvPr/>
        </p:nvSpPr>
        <p:spPr>
          <a:xfrm>
            <a:off x="9002372" y="2400251"/>
            <a:ext cx="144000" cy="144000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>
                <a:solidFill>
                  <a:schemeClr val="tx1"/>
                </a:solidFill>
              </a:rPr>
              <a:t>9</a:t>
            </a:r>
          </a:p>
        </p:txBody>
      </p:sp>
      <p:cxnSp>
        <p:nvCxnSpPr>
          <p:cNvPr id="12" name="Соединительная линия уступом 215069">
            <a:extLst>
              <a:ext uri="{FF2B5EF4-FFF2-40B4-BE49-F238E27FC236}">
                <a16:creationId xmlns="" xmlns:a16="http://schemas.microsoft.com/office/drawing/2014/main" id="{10419C19-34D7-F67C-7629-5E3EB757B32F}"/>
              </a:ext>
            </a:extLst>
          </p:cNvPr>
          <p:cNvCxnSpPr>
            <a:cxnSpLocks/>
          </p:cNvCxnSpPr>
          <p:nvPr/>
        </p:nvCxnSpPr>
        <p:spPr>
          <a:xfrm flipV="1">
            <a:off x="7972503" y="2252606"/>
            <a:ext cx="1116986" cy="418507"/>
          </a:xfrm>
          <a:prstGeom prst="bentConnector3">
            <a:avLst>
              <a:gd name="adj1" fmla="val 50000"/>
            </a:avLst>
          </a:prstGeom>
          <a:ln>
            <a:solidFill>
              <a:srgbClr val="ED7D31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B82F068C-9A99-BA7F-357C-DC38708E86A2}"/>
              </a:ext>
            </a:extLst>
          </p:cNvPr>
          <p:cNvSpPr txBox="1"/>
          <p:nvPr/>
        </p:nvSpPr>
        <p:spPr>
          <a:xfrm>
            <a:off x="2511513" y="3290173"/>
            <a:ext cx="194471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00" b="1" dirty="0" err="1">
                <a:solidFill>
                  <a:srgbClr val="193A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организация</a:t>
            </a:r>
            <a:endParaRPr lang="ru-RU" sz="1000" b="1" dirty="0">
              <a:solidFill>
                <a:srgbClr val="193A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7385F4DD-42C3-FC9D-B873-1149E3061EC8}"/>
              </a:ext>
            </a:extLst>
          </p:cNvPr>
          <p:cNvSpPr txBox="1"/>
          <p:nvPr/>
        </p:nvSpPr>
        <p:spPr>
          <a:xfrm>
            <a:off x="8806407" y="2304019"/>
            <a:ext cx="17277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ru-RU" sz="100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ирование государственной политики</a:t>
            </a:r>
          </a:p>
          <a:p>
            <a:pPr algn="ctr"/>
            <a:endParaRPr lang="ru-RU" sz="1000" b="1" dirty="0">
              <a:solidFill>
                <a:srgbClr val="295E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Рисунок 24">
            <a:extLst>
              <a:ext uri="{FF2B5EF4-FFF2-40B4-BE49-F238E27FC236}">
                <a16:creationId xmlns="" xmlns:a16="http://schemas.microsoft.com/office/drawing/2014/main" id="{BCE3C8B8-4019-734F-EE03-F0341AFEEAA4}"/>
              </a:ext>
            </a:extLst>
          </p:cNvPr>
          <p:cNvPicPr>
            <a:picLocks noChangeAspect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7610" y="4224960"/>
            <a:ext cx="583466" cy="583466"/>
          </a:xfrm>
          <a:prstGeom prst="rect">
            <a:avLst/>
          </a:prstGeom>
        </p:spPr>
      </p:pic>
      <p:pic>
        <p:nvPicPr>
          <p:cNvPr id="87" name="Рисунок 86">
            <a:extLst>
              <a:ext uri="{FF2B5EF4-FFF2-40B4-BE49-F238E27FC236}">
                <a16:creationId xmlns="" xmlns:a16="http://schemas.microsoft.com/office/drawing/2014/main" id="{5461920C-39C2-4B1B-ACFA-B9C534C241B9}"/>
              </a:ext>
            </a:extLst>
          </p:cNvPr>
          <p:cNvPicPr>
            <a:picLocks noChangeAspect="1"/>
          </p:cNvPicPr>
          <p:nvPr/>
        </p:nvPicPr>
        <p:blipFill rotWithShape="1">
          <a:blip r:embed="rId62" cstate="print">
            <a:extLst>
              <a:ext uri="{BEBA8EAE-BF5A-486C-A8C5-ECC9F3942E4B}">
                <a14:imgProps xmlns:a14="http://schemas.microsoft.com/office/drawing/2010/main">
                  <a14:imgLayer r:embed="rId63">
                    <a14:imgEffect>
                      <a14:backgroundRemoval t="20545" b="79208" l="11167" r="411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/>
        </p:blipFill>
        <p:spPr>
          <a:xfrm>
            <a:off x="4616732" y="2267512"/>
            <a:ext cx="864211" cy="1105258"/>
          </a:xfrm>
          <a:prstGeom prst="rect">
            <a:avLst/>
          </a:prstGeom>
        </p:spPr>
      </p:pic>
      <p:cxnSp>
        <p:nvCxnSpPr>
          <p:cNvPr id="15" name="Прямая соединительная линия 14"/>
          <p:cNvCxnSpPr/>
          <p:nvPr/>
        </p:nvCxnSpPr>
        <p:spPr>
          <a:xfrm>
            <a:off x="10840190" y="3155541"/>
            <a:ext cx="0" cy="2232945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 стрелкой 93">
            <a:extLst>
              <a:ext uri="{FF2B5EF4-FFF2-40B4-BE49-F238E27FC236}">
                <a16:creationId xmlns="" xmlns:a16="http://schemas.microsoft.com/office/drawing/2014/main" id="{E63B1E14-B39B-066D-AF7D-87CE9C080830}"/>
              </a:ext>
            </a:extLst>
          </p:cNvPr>
          <p:cNvCxnSpPr>
            <a:cxnSpLocks/>
          </p:cNvCxnSpPr>
          <p:nvPr/>
        </p:nvCxnSpPr>
        <p:spPr>
          <a:xfrm>
            <a:off x="10840626" y="4311319"/>
            <a:ext cx="235772" cy="0"/>
          </a:xfrm>
          <a:prstGeom prst="straightConnector1">
            <a:avLst/>
          </a:prstGeom>
          <a:ln>
            <a:solidFill>
              <a:srgbClr val="2E75B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Прямая со стрелкой 101">
            <a:extLst>
              <a:ext uri="{FF2B5EF4-FFF2-40B4-BE49-F238E27FC236}">
                <a16:creationId xmlns="" xmlns:a16="http://schemas.microsoft.com/office/drawing/2014/main" id="{E63B1E14-B39B-066D-AF7D-87CE9C080830}"/>
              </a:ext>
            </a:extLst>
          </p:cNvPr>
          <p:cNvCxnSpPr>
            <a:cxnSpLocks/>
          </p:cNvCxnSpPr>
          <p:nvPr/>
        </p:nvCxnSpPr>
        <p:spPr>
          <a:xfrm>
            <a:off x="10840626" y="3155541"/>
            <a:ext cx="235772" cy="0"/>
          </a:xfrm>
          <a:prstGeom prst="straightConnector1">
            <a:avLst/>
          </a:prstGeom>
          <a:ln>
            <a:solidFill>
              <a:srgbClr val="2E75B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 стрелкой 104">
            <a:extLst>
              <a:ext uri="{FF2B5EF4-FFF2-40B4-BE49-F238E27FC236}">
                <a16:creationId xmlns="" xmlns:a16="http://schemas.microsoft.com/office/drawing/2014/main" id="{E63B1E14-B39B-066D-AF7D-87CE9C080830}"/>
              </a:ext>
            </a:extLst>
          </p:cNvPr>
          <p:cNvCxnSpPr>
            <a:cxnSpLocks/>
          </p:cNvCxnSpPr>
          <p:nvPr/>
        </p:nvCxnSpPr>
        <p:spPr>
          <a:xfrm>
            <a:off x="10866026" y="5391772"/>
            <a:ext cx="235772" cy="0"/>
          </a:xfrm>
          <a:prstGeom prst="straightConnector1">
            <a:avLst/>
          </a:prstGeom>
          <a:ln>
            <a:solidFill>
              <a:srgbClr val="2E75B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33"/>
          <p:cNvSpPr txBox="1">
            <a:spLocks noChangeArrowheads="1"/>
          </p:cNvSpPr>
          <p:nvPr/>
        </p:nvSpPr>
        <p:spPr bwMode="auto">
          <a:xfrm>
            <a:off x="11411841" y="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endParaRPr lang="ru-RU" altLang="ru-RU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6" name="Прямая соединительная линия 75">
            <a:extLst>
              <a:ext uri="{FF2B5EF4-FFF2-40B4-BE49-F238E27FC236}">
                <a16:creationId xmlns="" xmlns:a16="http://schemas.microsoft.com/office/drawing/2014/main" id="{69CE0D03-021E-1AE6-D55E-2BCA59863ACD}"/>
              </a:ext>
            </a:extLst>
          </p:cNvPr>
          <p:cNvCxnSpPr>
            <a:cxnSpLocks/>
          </p:cNvCxnSpPr>
          <p:nvPr/>
        </p:nvCxnSpPr>
        <p:spPr>
          <a:xfrm>
            <a:off x="289081" y="810644"/>
            <a:ext cx="111045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987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Объект 5" hidden="1">
            <a:extLst>
              <a:ext uri="{FF2B5EF4-FFF2-40B4-BE49-F238E27FC236}">
                <a16:creationId xmlns="" xmlns:a16="http://schemas.microsoft.com/office/drawing/2014/main" id="{1FE90555-94BF-27CF-B5A0-088686EA4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122" name="Объект 5" hidden="1">
                        <a:extLst>
                          <a:ext uri="{FF2B5EF4-FFF2-40B4-BE49-F238E27FC236}">
                            <a16:creationId xmlns="" xmlns:a16="http://schemas.microsoft.com/office/drawing/2014/main" id="{1FE90555-94BF-27CF-B5A0-088686EA482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CF5B88D8-C26E-F51A-188B-E82C41A94EFF}"/>
              </a:ext>
            </a:extLst>
          </p:cNvPr>
          <p:cNvSpPr/>
          <p:nvPr/>
        </p:nvSpPr>
        <p:spPr>
          <a:xfrm>
            <a:off x="11666965" y="3151680"/>
            <a:ext cx="131762" cy="1476375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3" name="Прямая со стрелкой 12">
            <a:extLst>
              <a:ext uri="{FF2B5EF4-FFF2-40B4-BE49-F238E27FC236}">
                <a16:creationId xmlns="" xmlns:a16="http://schemas.microsoft.com/office/drawing/2014/main" id="{2E77713E-4817-9FD8-3EE6-6869E5AB7FDD}"/>
              </a:ext>
            </a:extLst>
          </p:cNvPr>
          <p:cNvCxnSpPr/>
          <p:nvPr/>
        </p:nvCxnSpPr>
        <p:spPr>
          <a:xfrm flipV="1">
            <a:off x="3589338" y="3175126"/>
            <a:ext cx="7996237" cy="0"/>
          </a:xfrm>
          <a:prstGeom prst="straightConnector1">
            <a:avLst/>
          </a:prstGeom>
          <a:ln w="28575">
            <a:solidFill>
              <a:srgbClr val="00206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B3C6087F-5B77-E319-29E0-7EBF2D14AA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684" y="2382239"/>
            <a:ext cx="1068387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kk-KZ" altLang="ru-RU" sz="4400" b="1" dirty="0">
                <a:solidFill>
                  <a:srgbClr val="002060"/>
                </a:solidFill>
                <a:latin typeface="Franklin Gothic Medium" panose="020B0603020102020204" pitchFamily="34" charset="0"/>
              </a:rPr>
              <a:t>НАЗАРЛАРЫ</a:t>
            </a:r>
            <a:r>
              <a:rPr lang="kk-KZ" altLang="ru-RU" sz="4800" b="1" dirty="0">
                <a:solidFill>
                  <a:srgbClr val="002060"/>
                </a:solidFill>
                <a:latin typeface="Franklin Gothic Medium" panose="020B0603020102020204" pitchFamily="34" charset="0"/>
              </a:rPr>
              <a:t>Ң</a:t>
            </a:r>
            <a:r>
              <a:rPr lang="kk-KZ" altLang="ru-RU" sz="4400" b="1" dirty="0">
                <a:solidFill>
                  <a:srgbClr val="002060"/>
                </a:solidFill>
                <a:latin typeface="Franklin Gothic Medium" panose="020B0603020102020204" pitchFamily="34" charset="0"/>
              </a:rPr>
              <a:t>ЫЗ</a:t>
            </a:r>
            <a:r>
              <a:rPr lang="kk-KZ" altLang="ru-RU" sz="4800" b="1" dirty="0">
                <a:solidFill>
                  <a:srgbClr val="002060"/>
                </a:solidFill>
                <a:latin typeface="Franklin Gothic Medium" panose="020B0603020102020204" pitchFamily="34" charset="0"/>
              </a:rPr>
              <a:t>Ғ</a:t>
            </a:r>
            <a:r>
              <a:rPr lang="kk-KZ" altLang="ru-RU" sz="4400" b="1" dirty="0">
                <a:solidFill>
                  <a:srgbClr val="002060"/>
                </a:solidFill>
                <a:latin typeface="Franklin Gothic Medium" panose="020B0603020102020204" pitchFamily="34" charset="0"/>
              </a:rPr>
              <a:t>А РАХМЕТ !</a:t>
            </a:r>
            <a:endParaRPr lang="ru-RU" altLang="ru-RU" sz="4400" b="1" dirty="0">
              <a:solidFill>
                <a:srgbClr val="002060"/>
              </a:solidFill>
              <a:latin typeface="Franklin Gothic Medium" panose="020B06030201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CF5B88D8-C26E-F51A-188B-E82C41A94EFF}"/>
              </a:ext>
            </a:extLst>
          </p:cNvPr>
          <p:cNvSpPr/>
          <p:nvPr/>
        </p:nvSpPr>
        <p:spPr>
          <a:xfrm>
            <a:off x="11666965" y="1675305"/>
            <a:ext cx="131762" cy="1476375"/>
          </a:xfrm>
          <a:prstGeom prst="rect">
            <a:avLst/>
          </a:prstGeom>
          <a:solidFill>
            <a:srgbClr val="7799B2"/>
          </a:solidFill>
          <a:ln>
            <a:solidFill>
              <a:srgbClr val="7799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6776" y="256498"/>
            <a:ext cx="592139" cy="680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4860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-124184" y="9629"/>
            <a:ext cx="11147641" cy="6850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иоды реализации мер по разработке порядка обеспечения  работников средствами индивидуальной защиты по степени профессионального риска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="" xmlns:a16="http://schemas.microsoft.com/office/drawing/2014/main" id="{69CE0D03-021E-1AE6-D55E-2BCA59863ACD}"/>
              </a:ext>
            </a:extLst>
          </p:cNvPr>
          <p:cNvCxnSpPr>
            <a:cxnSpLocks/>
          </p:cNvCxnSpPr>
          <p:nvPr/>
        </p:nvCxnSpPr>
        <p:spPr>
          <a:xfrm>
            <a:off x="339159" y="681647"/>
            <a:ext cx="111045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ая соединительная линия 19"/>
          <p:cNvSpPr/>
          <p:nvPr/>
        </p:nvSpPr>
        <p:spPr>
          <a:xfrm flipV="1">
            <a:off x="780456" y="3784252"/>
            <a:ext cx="11016000" cy="8798"/>
          </a:xfrm>
          <a:prstGeom prst="line">
            <a:avLst/>
          </a:prstGeom>
        </p:spPr>
        <p:style>
          <a:lnRef idx="2">
            <a:schemeClr val="accent1">
              <a:shade val="50000"/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3" name="Полилиния 22"/>
          <p:cNvSpPr/>
          <p:nvPr/>
        </p:nvSpPr>
        <p:spPr>
          <a:xfrm>
            <a:off x="720738" y="3889725"/>
            <a:ext cx="3485502" cy="1729327"/>
          </a:xfrm>
          <a:custGeom>
            <a:avLst/>
            <a:gdLst>
              <a:gd name="connsiteX0" fmla="*/ 0 w 2773392"/>
              <a:gd name="connsiteY0" fmla="*/ 0 h 1628554"/>
              <a:gd name="connsiteX1" fmla="*/ 2773392 w 2773392"/>
              <a:gd name="connsiteY1" fmla="*/ 0 h 1628554"/>
              <a:gd name="connsiteX2" fmla="*/ 2773392 w 2773392"/>
              <a:gd name="connsiteY2" fmla="*/ 1628554 h 1628554"/>
              <a:gd name="connsiteX3" fmla="*/ 0 w 2773392"/>
              <a:gd name="connsiteY3" fmla="*/ 1628554 h 1628554"/>
              <a:gd name="connsiteX4" fmla="*/ 0 w 2773392"/>
              <a:gd name="connsiteY4" fmla="*/ 0 h 1628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3392" h="1628554">
                <a:moveTo>
                  <a:pt x="0" y="0"/>
                </a:moveTo>
                <a:lnTo>
                  <a:pt x="2773392" y="0"/>
                </a:lnTo>
                <a:lnTo>
                  <a:pt x="2773392" y="1628554"/>
                </a:lnTo>
                <a:lnTo>
                  <a:pt x="0" y="16285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69850" rIns="69850" bIns="104775" numCol="1" spcCol="1270" rtlCol="0" anchor="t" anchorCtr="0">
            <a:noAutofit/>
          </a:bodyPr>
          <a:lstStyle/>
          <a:p>
            <a:pPr lvl="0" algn="l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100" b="1" kern="1200" spc="120" noProof="0" dirty="0">
                <a:latin typeface="Calibri" panose="020F0502020204030204" pitchFamily="34" charset="0"/>
              </a:rPr>
              <a:t>Разработка и внесение предложений по </a:t>
            </a:r>
            <a:r>
              <a:rPr lang="ru-RU" sz="1100" b="1" spc="120" dirty="0">
                <a:latin typeface="Calibri" panose="020F0502020204030204" pitchFamily="34" charset="0"/>
              </a:rPr>
              <a:t>выбору средств индивидуальной защиты (СИЗ) в зависимости от </a:t>
            </a:r>
            <a:r>
              <a:rPr lang="ru-RU" sz="1100" b="1" kern="1200" spc="120" noProof="0" dirty="0">
                <a:latin typeface="Calibri" panose="020F0502020204030204" pitchFamily="34" charset="0"/>
              </a:rPr>
              <a:t>профессионального риска в части гармонизации отраслевых подходов и регуляторной политики по нормам выдачи и выбору СИЗ </a:t>
            </a:r>
            <a:r>
              <a:rPr lang="ru-RU" sz="1100" i="1" kern="1200" spc="120" noProof="0" dirty="0">
                <a:latin typeface="Calibri" panose="020F0502020204030204" pitchFamily="34" charset="0"/>
              </a:rPr>
              <a:t>(на основе исследований)</a:t>
            </a:r>
          </a:p>
          <a:p>
            <a:pPr lvl="0" algn="l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1582400" y="0"/>
            <a:ext cx="60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9</a:t>
            </a:r>
          </a:p>
        </p:txBody>
      </p:sp>
      <p:sp>
        <p:nvSpPr>
          <p:cNvPr id="60" name="TextBox 33">
            <a:extLst>
              <a:ext uri="{FF2B5EF4-FFF2-40B4-BE49-F238E27FC236}">
                <a16:creationId xmlns="" xmlns:a16="http://schemas.microsoft.com/office/drawing/2014/main" id="{CE1A26EE-8825-7AA0-B663-2D07F3A804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11841" y="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1" name="Капля 20"/>
          <p:cNvSpPr/>
          <p:nvPr/>
        </p:nvSpPr>
        <p:spPr>
          <a:xfrm rot="8100000">
            <a:off x="2180662" y="1669776"/>
            <a:ext cx="404602" cy="404602"/>
          </a:xfrm>
          <a:prstGeom prst="teardrop">
            <a:avLst>
              <a:gd name="adj" fmla="val 115000"/>
            </a:avLst>
          </a:prstGeom>
        </p:spPr>
        <p:style>
          <a:lnRef idx="2">
            <a:schemeClr val="accent1">
              <a:shade val="5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shade val="5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2" name="Овал 21"/>
          <p:cNvSpPr/>
          <p:nvPr/>
        </p:nvSpPr>
        <p:spPr>
          <a:xfrm>
            <a:off x="2225609" y="1714724"/>
            <a:ext cx="314707" cy="314707"/>
          </a:xfrm>
          <a:prstGeom prst="ellipse">
            <a:avLst/>
          </a:prstGeom>
        </p:spPr>
        <p:style>
          <a:lnRef idx="2">
            <a:schemeClr val="accent1">
              <a:shade val="50000"/>
              <a:hueOff val="111419"/>
              <a:satOff val="2985"/>
              <a:lumOff val="13151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 dirty="0"/>
          </a:p>
        </p:txBody>
      </p:sp>
      <p:sp>
        <p:nvSpPr>
          <p:cNvPr id="24" name="Полилиния 23"/>
          <p:cNvSpPr/>
          <p:nvPr/>
        </p:nvSpPr>
        <p:spPr>
          <a:xfrm>
            <a:off x="1907479" y="1272756"/>
            <a:ext cx="2208689" cy="467002"/>
          </a:xfrm>
          <a:custGeom>
            <a:avLst/>
            <a:gdLst>
              <a:gd name="connsiteX0" fmla="*/ 0 w 2773392"/>
              <a:gd name="connsiteY0" fmla="*/ 0 h 572194"/>
              <a:gd name="connsiteX1" fmla="*/ 2773392 w 2773392"/>
              <a:gd name="connsiteY1" fmla="*/ 0 h 572194"/>
              <a:gd name="connsiteX2" fmla="*/ 2773392 w 2773392"/>
              <a:gd name="connsiteY2" fmla="*/ 572194 h 572194"/>
              <a:gd name="connsiteX3" fmla="*/ 0 w 2773392"/>
              <a:gd name="connsiteY3" fmla="*/ 572194 h 572194"/>
              <a:gd name="connsiteX4" fmla="*/ 0 w 2773392"/>
              <a:gd name="connsiteY4" fmla="*/ 0 h 572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3392" h="572194">
                <a:moveTo>
                  <a:pt x="0" y="0"/>
                </a:moveTo>
                <a:lnTo>
                  <a:pt x="2773392" y="0"/>
                </a:lnTo>
                <a:lnTo>
                  <a:pt x="2773392" y="572194"/>
                </a:lnTo>
                <a:lnTo>
                  <a:pt x="0" y="57219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88900" bIns="0" numCol="1" spcCol="1270" rtlCol="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kern="1200" spc="140" noProof="0" dirty="0">
                <a:latin typeface="Calibri" panose="020F0502020204030204" pitchFamily="34" charset="0"/>
              </a:rPr>
              <a:t>Июль 2023 г.</a:t>
            </a:r>
          </a:p>
        </p:txBody>
      </p:sp>
      <p:sp>
        <p:nvSpPr>
          <p:cNvPr id="25" name="Прямая соединительная линия 24"/>
          <p:cNvSpPr/>
          <p:nvPr/>
        </p:nvSpPr>
        <p:spPr>
          <a:xfrm>
            <a:off x="2382963" y="2158175"/>
            <a:ext cx="0" cy="1628554"/>
          </a:xfrm>
          <a:prstGeom prst="line">
            <a:avLst/>
          </a:prstGeom>
        </p:spPr>
        <p:style>
          <a:lnRef idx="1">
            <a:schemeClr val="accent1">
              <a:shade val="9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shade val="9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shade val="9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6" name="Овал 25"/>
          <p:cNvSpPr/>
          <p:nvPr/>
        </p:nvSpPr>
        <p:spPr>
          <a:xfrm>
            <a:off x="2331465" y="3735232"/>
            <a:ext cx="102995" cy="102995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shade val="5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Капля 26"/>
          <p:cNvSpPr/>
          <p:nvPr/>
        </p:nvSpPr>
        <p:spPr>
          <a:xfrm rot="18900000">
            <a:off x="5723024" y="5499080"/>
            <a:ext cx="404602" cy="404602"/>
          </a:xfrm>
          <a:prstGeom prst="teardrop">
            <a:avLst>
              <a:gd name="adj" fmla="val 115000"/>
            </a:avLst>
          </a:prstGeom>
        </p:spPr>
        <p:style>
          <a:lnRef idx="2">
            <a:schemeClr val="accent1">
              <a:shade val="50000"/>
              <a:hueOff val="133703"/>
              <a:satOff val="3582"/>
              <a:lumOff val="15781"/>
              <a:alphaOff val="0"/>
            </a:schemeClr>
          </a:lnRef>
          <a:fillRef idx="1">
            <a:schemeClr val="accent1">
              <a:shade val="50000"/>
              <a:hueOff val="133703"/>
              <a:satOff val="3582"/>
              <a:lumOff val="15781"/>
              <a:alphaOff val="0"/>
            </a:schemeClr>
          </a:fillRef>
          <a:effectRef idx="0">
            <a:schemeClr val="accent1">
              <a:shade val="50000"/>
              <a:hueOff val="133703"/>
              <a:satOff val="3582"/>
              <a:lumOff val="15781"/>
              <a:alphaOff val="0"/>
            </a:schemeClr>
          </a:effectRef>
          <a:fontRef idx="minor">
            <a:schemeClr val="lt1"/>
          </a:fontRef>
        </p:style>
      </p:sp>
      <p:sp>
        <p:nvSpPr>
          <p:cNvPr id="28" name="Овал 27"/>
          <p:cNvSpPr/>
          <p:nvPr/>
        </p:nvSpPr>
        <p:spPr>
          <a:xfrm>
            <a:off x="5767972" y="5544028"/>
            <a:ext cx="314707" cy="314707"/>
          </a:xfrm>
          <a:prstGeom prst="ellipse">
            <a:avLst/>
          </a:prstGeom>
        </p:spPr>
        <p:style>
          <a:lnRef idx="2">
            <a:schemeClr val="accent1">
              <a:shade val="50000"/>
              <a:hueOff val="222839"/>
              <a:satOff val="5970"/>
              <a:lumOff val="26302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9" name="Полилиния 28"/>
          <p:cNvSpPr/>
          <p:nvPr/>
        </p:nvSpPr>
        <p:spPr>
          <a:xfrm>
            <a:off x="4598955" y="1964359"/>
            <a:ext cx="2967448" cy="1628554"/>
          </a:xfrm>
          <a:custGeom>
            <a:avLst/>
            <a:gdLst>
              <a:gd name="connsiteX0" fmla="*/ 0 w 2425989"/>
              <a:gd name="connsiteY0" fmla="*/ 0 h 1628554"/>
              <a:gd name="connsiteX1" fmla="*/ 2425989 w 2425989"/>
              <a:gd name="connsiteY1" fmla="*/ 0 h 1628554"/>
              <a:gd name="connsiteX2" fmla="*/ 2425989 w 2425989"/>
              <a:gd name="connsiteY2" fmla="*/ 1628554 h 1628554"/>
              <a:gd name="connsiteX3" fmla="*/ 0 w 2425989"/>
              <a:gd name="connsiteY3" fmla="*/ 1628554 h 1628554"/>
              <a:gd name="connsiteX4" fmla="*/ 0 w 2425989"/>
              <a:gd name="connsiteY4" fmla="*/ 0 h 1628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5989" h="1628554">
                <a:moveTo>
                  <a:pt x="0" y="0"/>
                </a:moveTo>
                <a:lnTo>
                  <a:pt x="2425989" y="0"/>
                </a:lnTo>
                <a:lnTo>
                  <a:pt x="2425989" y="1628554"/>
                </a:lnTo>
                <a:lnTo>
                  <a:pt x="0" y="16285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104775" rIns="0" bIns="69850" numCol="1" spcCol="1270" rtlCol="0" anchor="b" anchorCtr="0">
            <a:noAutofit/>
          </a:bodyPr>
          <a:lstStyle/>
          <a:p>
            <a:pPr lvl="0" defTabSz="488950">
              <a:lnSpc>
                <a:spcPct val="90000"/>
              </a:lnSpc>
              <a:spcAft>
                <a:spcPts val="0"/>
              </a:spcAft>
            </a:pPr>
            <a:r>
              <a:rPr lang="ru-RU" sz="1100" b="1" spc="120" dirty="0">
                <a:latin typeface="Calibri" panose="020F0502020204030204" pitchFamily="34" charset="0"/>
              </a:rPr>
              <a:t>«Пилотная» апробация предлагаемых правил выбора СИЗ с учетом степени профессионального риска </a:t>
            </a:r>
          </a:p>
          <a:p>
            <a:pPr lvl="0" defTabSz="488950">
              <a:lnSpc>
                <a:spcPct val="90000"/>
              </a:lnSpc>
              <a:spcAft>
                <a:spcPts val="0"/>
              </a:spcAft>
            </a:pPr>
            <a:r>
              <a:rPr lang="ru-RU" sz="1100" b="1" spc="120" dirty="0">
                <a:latin typeface="Calibri" panose="020F0502020204030204" pitchFamily="34" charset="0"/>
              </a:rPr>
              <a:t>по предприятию в разрезе отраслей и оценка регуляторного воздействия</a:t>
            </a:r>
            <a:endParaRPr lang="ru-RU" sz="1100" b="1" kern="1200" spc="120" noProof="0" dirty="0">
              <a:latin typeface="Calibri" panose="020F0502020204030204" pitchFamily="34" charset="0"/>
            </a:endParaRPr>
          </a:p>
        </p:txBody>
      </p:sp>
      <p:sp>
        <p:nvSpPr>
          <p:cNvPr id="31" name="Прямая соединительная линия 30"/>
          <p:cNvSpPr/>
          <p:nvPr/>
        </p:nvSpPr>
        <p:spPr>
          <a:xfrm>
            <a:off x="5925326" y="3786730"/>
            <a:ext cx="0" cy="1628554"/>
          </a:xfrm>
          <a:prstGeom prst="line">
            <a:avLst/>
          </a:prstGeom>
        </p:spPr>
        <p:style>
          <a:lnRef idx="1">
            <a:schemeClr val="accent1">
              <a:shade val="90000"/>
              <a:hueOff val="140366"/>
              <a:satOff val="-1286"/>
              <a:lumOff val="11102"/>
              <a:alphaOff val="0"/>
            </a:schemeClr>
          </a:lnRef>
          <a:fillRef idx="0">
            <a:schemeClr val="accent1">
              <a:shade val="90000"/>
              <a:hueOff val="140366"/>
              <a:satOff val="-1286"/>
              <a:lumOff val="11102"/>
              <a:alphaOff val="0"/>
            </a:schemeClr>
          </a:fillRef>
          <a:effectRef idx="0">
            <a:schemeClr val="accent1">
              <a:shade val="90000"/>
              <a:hueOff val="140366"/>
              <a:satOff val="-1286"/>
              <a:lumOff val="11102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2" name="Овал 31"/>
          <p:cNvSpPr/>
          <p:nvPr/>
        </p:nvSpPr>
        <p:spPr>
          <a:xfrm>
            <a:off x="5873828" y="3735232"/>
            <a:ext cx="102995" cy="102995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50000"/>
              <a:hueOff val="133703"/>
              <a:satOff val="3582"/>
              <a:lumOff val="15781"/>
              <a:alphaOff val="0"/>
            </a:schemeClr>
          </a:fillRef>
          <a:effectRef idx="0">
            <a:schemeClr val="accent1">
              <a:shade val="50000"/>
              <a:hueOff val="133703"/>
              <a:satOff val="3582"/>
              <a:lumOff val="15781"/>
              <a:alphaOff val="0"/>
            </a:schemeClr>
          </a:effectRef>
          <a:fontRef idx="minor">
            <a:schemeClr val="lt1"/>
          </a:fontRef>
        </p:style>
      </p:sp>
      <p:sp>
        <p:nvSpPr>
          <p:cNvPr id="33" name="Капля 32"/>
          <p:cNvSpPr/>
          <p:nvPr/>
        </p:nvSpPr>
        <p:spPr>
          <a:xfrm rot="8100000">
            <a:off x="9124707" y="1669776"/>
            <a:ext cx="404602" cy="404602"/>
          </a:xfrm>
          <a:prstGeom prst="teardrop">
            <a:avLst>
              <a:gd name="adj" fmla="val 115000"/>
            </a:avLst>
          </a:prstGeom>
        </p:spPr>
        <p:style>
          <a:lnRef idx="2">
            <a:schemeClr val="accent1">
              <a:shade val="50000"/>
              <a:hueOff val="267407"/>
              <a:satOff val="7164"/>
              <a:lumOff val="31562"/>
              <a:alphaOff val="0"/>
            </a:schemeClr>
          </a:lnRef>
          <a:fillRef idx="1">
            <a:schemeClr val="accent1">
              <a:shade val="50000"/>
              <a:hueOff val="267407"/>
              <a:satOff val="7164"/>
              <a:lumOff val="31562"/>
              <a:alphaOff val="0"/>
            </a:schemeClr>
          </a:fillRef>
          <a:effectRef idx="0">
            <a:schemeClr val="accent1">
              <a:shade val="50000"/>
              <a:hueOff val="267407"/>
              <a:satOff val="7164"/>
              <a:lumOff val="31562"/>
              <a:alphaOff val="0"/>
            </a:schemeClr>
          </a:effectRef>
          <a:fontRef idx="minor">
            <a:schemeClr val="lt1"/>
          </a:fontRef>
        </p:style>
      </p:sp>
      <p:sp>
        <p:nvSpPr>
          <p:cNvPr id="34" name="Овал 33"/>
          <p:cNvSpPr/>
          <p:nvPr/>
        </p:nvSpPr>
        <p:spPr>
          <a:xfrm>
            <a:off x="9169655" y="1714724"/>
            <a:ext cx="314707" cy="314707"/>
          </a:xfrm>
          <a:prstGeom prst="ellipse">
            <a:avLst/>
          </a:prstGeom>
        </p:spPr>
        <p:style>
          <a:lnRef idx="2">
            <a:schemeClr val="accent1">
              <a:shade val="50000"/>
              <a:hueOff val="334258"/>
              <a:satOff val="8955"/>
              <a:lumOff val="39453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5" name="Полилиния 34"/>
          <p:cNvSpPr/>
          <p:nvPr/>
        </p:nvSpPr>
        <p:spPr>
          <a:xfrm>
            <a:off x="8410023" y="3845087"/>
            <a:ext cx="3525945" cy="1628554"/>
          </a:xfrm>
          <a:custGeom>
            <a:avLst/>
            <a:gdLst>
              <a:gd name="connsiteX0" fmla="*/ 0 w 2388024"/>
              <a:gd name="connsiteY0" fmla="*/ 0 h 1628554"/>
              <a:gd name="connsiteX1" fmla="*/ 2388024 w 2388024"/>
              <a:gd name="connsiteY1" fmla="*/ 0 h 1628554"/>
              <a:gd name="connsiteX2" fmla="*/ 2388024 w 2388024"/>
              <a:gd name="connsiteY2" fmla="*/ 1628554 h 1628554"/>
              <a:gd name="connsiteX3" fmla="*/ 0 w 2388024"/>
              <a:gd name="connsiteY3" fmla="*/ 1628554 h 1628554"/>
              <a:gd name="connsiteX4" fmla="*/ 0 w 2388024"/>
              <a:gd name="connsiteY4" fmla="*/ 0 h 1628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88024" h="1628554">
                <a:moveTo>
                  <a:pt x="0" y="0"/>
                </a:moveTo>
                <a:lnTo>
                  <a:pt x="2388024" y="0"/>
                </a:lnTo>
                <a:lnTo>
                  <a:pt x="2388024" y="1628554"/>
                </a:lnTo>
                <a:lnTo>
                  <a:pt x="0" y="16285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69850" rIns="69850" bIns="104775" numCol="1" spcCol="1270" rtlCol="0" anchor="t" anchorCtr="0">
            <a:noAutofit/>
          </a:bodyPr>
          <a:lstStyle/>
          <a:p>
            <a:r>
              <a:rPr lang="ru-RU" sz="1100" b="1" spc="120" dirty="0">
                <a:latin typeface="Calibri" panose="020F0502020204030204" pitchFamily="34" charset="0"/>
              </a:rPr>
              <a:t>Внедрение правил выбора СИЗ с учетом степени профессионального риска в трудовое законодательство </a:t>
            </a:r>
          </a:p>
          <a:p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(приказ Министра здравоохранения и социального развития Республики Казахстан от 28 декабря 2015 года № 1054 «Об утверждении Правил выдачи работникам молока или равноценных пищевых продуктов и (или) специализированных продуктов для диетического (лечебного и профилактического) питания, специальной одежды и других средств индивидуальной защиты, обеспечения их средствами коллективной защиты, санитарно-бытовыми помещениями и устройствами за счет средств работодателя», Приказ Министра здравоохранения и социального развития Республики Казахстан от 8 декабря 2015 года № 943 «Об утверждении норм выдачи специальной одежды и других средств индивидуальной защиты работникам организаций различных видов экономической деятельности»)</a:t>
            </a:r>
            <a:endParaRPr lang="ru-RU" sz="1100" b="1" spc="120" dirty="0">
              <a:latin typeface="Calibri" panose="020F0502020204030204" pitchFamily="34" charset="0"/>
            </a:endParaRPr>
          </a:p>
        </p:txBody>
      </p:sp>
      <p:sp>
        <p:nvSpPr>
          <p:cNvPr id="37" name="Прямая соединительная линия 36"/>
          <p:cNvSpPr/>
          <p:nvPr/>
        </p:nvSpPr>
        <p:spPr>
          <a:xfrm>
            <a:off x="9327009" y="2158175"/>
            <a:ext cx="0" cy="1628554"/>
          </a:xfrm>
          <a:prstGeom prst="line">
            <a:avLst/>
          </a:prstGeom>
        </p:spPr>
        <p:style>
          <a:lnRef idx="1">
            <a:schemeClr val="accent1">
              <a:shade val="90000"/>
              <a:hueOff val="280732"/>
              <a:satOff val="-2572"/>
              <a:lumOff val="22203"/>
              <a:alphaOff val="0"/>
            </a:schemeClr>
          </a:lnRef>
          <a:fillRef idx="0">
            <a:schemeClr val="accent1">
              <a:shade val="90000"/>
              <a:hueOff val="280732"/>
              <a:satOff val="-2572"/>
              <a:lumOff val="22203"/>
              <a:alphaOff val="0"/>
            </a:schemeClr>
          </a:fillRef>
          <a:effectRef idx="0">
            <a:schemeClr val="accent1">
              <a:shade val="90000"/>
              <a:hueOff val="280732"/>
              <a:satOff val="-2572"/>
              <a:lumOff val="22203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8" name="Овал 37"/>
          <p:cNvSpPr/>
          <p:nvPr/>
        </p:nvSpPr>
        <p:spPr>
          <a:xfrm>
            <a:off x="9275515" y="3735232"/>
            <a:ext cx="102995" cy="102995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50000"/>
              <a:hueOff val="267407"/>
              <a:satOff val="7164"/>
              <a:lumOff val="31562"/>
              <a:alphaOff val="0"/>
            </a:schemeClr>
          </a:fillRef>
          <a:effectRef idx="0">
            <a:schemeClr val="accent1">
              <a:shade val="50000"/>
              <a:hueOff val="267407"/>
              <a:satOff val="7164"/>
              <a:lumOff val="31562"/>
              <a:alphaOff val="0"/>
            </a:schemeClr>
          </a:effectRef>
          <a:fontRef idx="minor">
            <a:schemeClr val="lt1"/>
          </a:fontRef>
        </p:style>
      </p:sp>
      <p:sp>
        <p:nvSpPr>
          <p:cNvPr id="52" name="Полилиния 51"/>
          <p:cNvSpPr/>
          <p:nvPr/>
        </p:nvSpPr>
        <p:spPr>
          <a:xfrm>
            <a:off x="5221894" y="5797963"/>
            <a:ext cx="2824715" cy="467002"/>
          </a:xfrm>
          <a:custGeom>
            <a:avLst/>
            <a:gdLst>
              <a:gd name="connsiteX0" fmla="*/ 0 w 2773392"/>
              <a:gd name="connsiteY0" fmla="*/ 0 h 572194"/>
              <a:gd name="connsiteX1" fmla="*/ 2773392 w 2773392"/>
              <a:gd name="connsiteY1" fmla="*/ 0 h 572194"/>
              <a:gd name="connsiteX2" fmla="*/ 2773392 w 2773392"/>
              <a:gd name="connsiteY2" fmla="*/ 572194 h 572194"/>
              <a:gd name="connsiteX3" fmla="*/ 0 w 2773392"/>
              <a:gd name="connsiteY3" fmla="*/ 572194 h 572194"/>
              <a:gd name="connsiteX4" fmla="*/ 0 w 2773392"/>
              <a:gd name="connsiteY4" fmla="*/ 0 h 572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3392" h="572194">
                <a:moveTo>
                  <a:pt x="0" y="0"/>
                </a:moveTo>
                <a:lnTo>
                  <a:pt x="2773392" y="0"/>
                </a:lnTo>
                <a:lnTo>
                  <a:pt x="2773392" y="572194"/>
                </a:lnTo>
                <a:lnTo>
                  <a:pt x="0" y="57219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88900" bIns="0" numCol="1" spcCol="1270" rtlCol="0" anchor="ctr" anchorCtr="0">
            <a:noAutofit/>
          </a:bodyPr>
          <a:lstStyle/>
          <a:p>
            <a:pPr lvl="0" defTabSz="622300">
              <a:lnSpc>
                <a:spcPct val="90000"/>
              </a:lnSpc>
              <a:spcAft>
                <a:spcPct val="35000"/>
              </a:spcAft>
            </a:pPr>
            <a:r>
              <a:rPr lang="ru-RU" sz="1400" b="1" spc="140" dirty="0">
                <a:latin typeface="Calibri" panose="020F0502020204030204" pitchFamily="34" charset="0"/>
              </a:rPr>
              <a:t>Август – ноябрь 2023 г.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5974730" y="3771894"/>
            <a:ext cx="214055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solidFill>
                  <a:srgbClr val="445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шение</a:t>
            </a:r>
          </a:p>
          <a:p>
            <a:r>
              <a:rPr lang="ru-RU" sz="1050" dirty="0">
                <a:solidFill>
                  <a:srgbClr val="445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акты внедрения</a:t>
            </a:r>
          </a:p>
        </p:txBody>
      </p:sp>
      <p:sp>
        <p:nvSpPr>
          <p:cNvPr id="54" name="Полилиния 53"/>
          <p:cNvSpPr/>
          <p:nvPr/>
        </p:nvSpPr>
        <p:spPr>
          <a:xfrm>
            <a:off x="8768850" y="1192930"/>
            <a:ext cx="2824715" cy="467002"/>
          </a:xfrm>
          <a:custGeom>
            <a:avLst/>
            <a:gdLst>
              <a:gd name="connsiteX0" fmla="*/ 0 w 2773392"/>
              <a:gd name="connsiteY0" fmla="*/ 0 h 572194"/>
              <a:gd name="connsiteX1" fmla="*/ 2773392 w 2773392"/>
              <a:gd name="connsiteY1" fmla="*/ 0 h 572194"/>
              <a:gd name="connsiteX2" fmla="*/ 2773392 w 2773392"/>
              <a:gd name="connsiteY2" fmla="*/ 572194 h 572194"/>
              <a:gd name="connsiteX3" fmla="*/ 0 w 2773392"/>
              <a:gd name="connsiteY3" fmla="*/ 572194 h 572194"/>
              <a:gd name="connsiteX4" fmla="*/ 0 w 2773392"/>
              <a:gd name="connsiteY4" fmla="*/ 0 h 572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3392" h="572194">
                <a:moveTo>
                  <a:pt x="0" y="0"/>
                </a:moveTo>
                <a:lnTo>
                  <a:pt x="2773392" y="0"/>
                </a:lnTo>
                <a:lnTo>
                  <a:pt x="2773392" y="572194"/>
                </a:lnTo>
                <a:lnTo>
                  <a:pt x="0" y="57219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88900" bIns="0" numCol="1" spcCol="1270" rtlCol="0" anchor="ctr" anchorCtr="0">
            <a:noAutofit/>
          </a:bodyPr>
          <a:lstStyle/>
          <a:p>
            <a:pPr defTabSz="622300">
              <a:spcAft>
                <a:spcPts val="0"/>
              </a:spcAft>
            </a:pPr>
            <a:r>
              <a:rPr lang="ru-RU" sz="1400" b="1" spc="140" dirty="0">
                <a:latin typeface="Calibri" panose="020F0502020204030204" pitchFamily="34" charset="0"/>
              </a:rPr>
              <a:t> </a:t>
            </a:r>
          </a:p>
          <a:p>
            <a:pPr defTabSz="622300">
              <a:spcAft>
                <a:spcPts val="0"/>
              </a:spcAft>
            </a:pPr>
            <a:endParaRPr lang="ru-RU" sz="1400" b="1" spc="140" dirty="0">
              <a:latin typeface="Calibri" panose="020F0502020204030204" pitchFamily="34" charset="0"/>
            </a:endParaRPr>
          </a:p>
          <a:p>
            <a:pPr defTabSz="622300">
              <a:spcAft>
                <a:spcPts val="0"/>
              </a:spcAft>
            </a:pPr>
            <a:r>
              <a:rPr lang="ru-RU" sz="1400" b="1" spc="140" dirty="0">
                <a:latin typeface="Calibri" panose="020F0502020204030204" pitchFamily="34" charset="0"/>
              </a:rPr>
              <a:t>Декабрь 2023 г.</a:t>
            </a:r>
          </a:p>
          <a:p>
            <a:pPr lvl="0" defTabSz="622300">
              <a:spcAft>
                <a:spcPts val="0"/>
              </a:spcAft>
            </a:pPr>
            <a:endParaRPr lang="ru-RU" sz="1400" b="1" spc="140" dirty="0">
              <a:latin typeface="Calibri" panose="020F0502020204030204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9381096" y="2428731"/>
            <a:ext cx="2352268" cy="1223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solidFill>
                  <a:srgbClr val="445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я по внесению изменений в ТК РК,</a:t>
            </a:r>
          </a:p>
          <a:p>
            <a:r>
              <a:rPr lang="ru-RU" sz="1050" dirty="0">
                <a:solidFill>
                  <a:srgbClr val="445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зы Министра здравоохранения и социального развития Республики Казахстан от 28 декабря 2015 года № 1054 и от 8 декабря 2015 года № 943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194384" y="1712859"/>
            <a:ext cx="53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445171"/>
                </a:solidFill>
              </a:rPr>
              <a:t>2.1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725023" y="5552825"/>
            <a:ext cx="53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445171"/>
                </a:solidFill>
              </a:rPr>
              <a:t>2.2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9131914" y="1718288"/>
            <a:ext cx="4811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445171"/>
                </a:solidFill>
              </a:rPr>
              <a:t>2.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CF07521D-B69E-5E11-6BC5-E21390670356}"/>
              </a:ext>
            </a:extLst>
          </p:cNvPr>
          <p:cNvSpPr txBox="1"/>
          <p:nvPr/>
        </p:nvSpPr>
        <p:spPr>
          <a:xfrm>
            <a:off x="1003591" y="3401593"/>
            <a:ext cx="13589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rgbClr val="445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Правил</a:t>
            </a:r>
          </a:p>
        </p:txBody>
      </p:sp>
    </p:spTree>
    <p:extLst>
      <p:ext uri="{BB962C8B-B14F-4D97-AF65-F5344CB8AC3E}">
        <p14:creationId xmlns:p14="http://schemas.microsoft.com/office/powerpoint/2010/main" val="4042082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C90B2FD9-753B-EB2C-C5C8-04F95F7CDBFA}"/>
              </a:ext>
            </a:extLst>
          </p:cNvPr>
          <p:cNvSpPr/>
          <p:nvPr/>
        </p:nvSpPr>
        <p:spPr>
          <a:xfrm>
            <a:off x="5405071" y="1538288"/>
            <a:ext cx="1824038" cy="5251450"/>
          </a:xfrm>
          <a:prstGeom prst="rect">
            <a:avLst/>
          </a:prstGeom>
          <a:solidFill>
            <a:srgbClr val="ACCBF9">
              <a:alpha val="47843"/>
            </a:srgbClr>
          </a:solidFill>
          <a:ln w="6350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54DC2F42-0896-4327-6C0A-6C277175FF22}"/>
              </a:ext>
            </a:extLst>
          </p:cNvPr>
          <p:cNvSpPr/>
          <p:nvPr/>
        </p:nvSpPr>
        <p:spPr>
          <a:xfrm>
            <a:off x="7306896" y="1549400"/>
            <a:ext cx="1631950" cy="5251450"/>
          </a:xfrm>
          <a:prstGeom prst="rect">
            <a:avLst/>
          </a:prstGeom>
          <a:solidFill>
            <a:schemeClr val="accent6">
              <a:lumMod val="60000"/>
              <a:lumOff val="40000"/>
              <a:alpha val="47843"/>
            </a:schemeClr>
          </a:solidFill>
          <a:ln w="63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12E969C7-AE79-AC9C-6283-4CCFBD2CE9DC}"/>
              </a:ext>
            </a:extLst>
          </p:cNvPr>
          <p:cNvSpPr/>
          <p:nvPr/>
        </p:nvSpPr>
        <p:spPr>
          <a:xfrm>
            <a:off x="9003934" y="1552575"/>
            <a:ext cx="2405062" cy="5249863"/>
          </a:xfrm>
          <a:prstGeom prst="rect">
            <a:avLst/>
          </a:prstGeom>
          <a:solidFill>
            <a:schemeClr val="accent5">
              <a:lumMod val="60000"/>
              <a:lumOff val="40000"/>
              <a:alpha val="47843"/>
            </a:schemeClr>
          </a:solidFill>
          <a:ln w="317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3D186868-5961-9F58-45C1-A0D8A1A0EE9B}"/>
              </a:ext>
            </a:extLst>
          </p:cNvPr>
          <p:cNvSpPr/>
          <p:nvPr/>
        </p:nvSpPr>
        <p:spPr>
          <a:xfrm>
            <a:off x="107950" y="141811"/>
            <a:ext cx="1031043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alt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овные особенности подходов и регламентирующих норм  в обеспечении СИЗ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0D2E003A-4186-85B8-C913-0E16FFD9D6A8}"/>
              </a:ext>
            </a:extLst>
          </p:cNvPr>
          <p:cNvSpPr/>
          <p:nvPr/>
        </p:nvSpPr>
        <p:spPr>
          <a:xfrm>
            <a:off x="6890971" y="914401"/>
            <a:ext cx="3309937" cy="5318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234F7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АВОВАЯ  ОСНОВА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1AA53CD2-0C60-47A0-1BC7-CDFC73332D4A}"/>
              </a:ext>
            </a:extLst>
          </p:cNvPr>
          <p:cNvSpPr/>
          <p:nvPr/>
        </p:nvSpPr>
        <p:spPr>
          <a:xfrm>
            <a:off x="5436821" y="2182813"/>
            <a:ext cx="4330700" cy="43656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конодательство об охране труда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B6924A69-C387-6E70-20E7-2854E7D1D324}"/>
              </a:ext>
            </a:extLst>
          </p:cNvPr>
          <p:cNvSpPr/>
          <p:nvPr/>
        </p:nvSpPr>
        <p:spPr>
          <a:xfrm>
            <a:off x="5459046" y="3011488"/>
            <a:ext cx="3397250" cy="847725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ого регламентирована обязанность работодателя обеспечить работников СИЗ 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B06FFDE6-E94D-DF33-4118-F8CCDC405DF0}"/>
              </a:ext>
            </a:extLst>
          </p:cNvPr>
          <p:cNvSpPr/>
          <p:nvPr/>
        </p:nvSpPr>
        <p:spPr>
          <a:xfrm>
            <a:off x="7383096" y="1603375"/>
            <a:ext cx="1473200" cy="465138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1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ИБРИДНЫЙ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BBFA586F-A196-ABAB-5E1C-8C1F1CA0958F}"/>
              </a:ext>
            </a:extLst>
          </p:cNvPr>
          <p:cNvSpPr/>
          <p:nvPr/>
        </p:nvSpPr>
        <p:spPr>
          <a:xfrm>
            <a:off x="9184176" y="3027363"/>
            <a:ext cx="2055812" cy="83185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гламентирована обязанность работодателя обеспечить СИЗ работников только в отдельных видах деятельности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32C4E64F-9C66-C396-FFE8-8394BF60E20D}"/>
              </a:ext>
            </a:extLst>
          </p:cNvPr>
          <p:cNvSpPr/>
          <p:nvPr/>
        </p:nvSpPr>
        <p:spPr>
          <a:xfrm>
            <a:off x="5522546" y="6303963"/>
            <a:ext cx="5800725" cy="46513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ого регламентированы требования к безопасности и качеству СИЗ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CDE0509C-1E19-ED9F-7754-33F686E09D09}"/>
              </a:ext>
            </a:extLst>
          </p:cNvPr>
          <p:cNvSpPr/>
          <p:nvPr/>
        </p:nvSpPr>
        <p:spPr>
          <a:xfrm>
            <a:off x="5522546" y="3965575"/>
            <a:ext cx="5805488" cy="41910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гламентирована обязанность финансирования обеспечения СИЗ работодателем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="" xmlns:a16="http://schemas.microsoft.com/office/drawing/2014/main" id="{7B789CD2-65D0-7B5A-197B-E08B65840778}"/>
              </a:ext>
            </a:extLst>
          </p:cNvPr>
          <p:cNvSpPr/>
          <p:nvPr/>
        </p:nvSpPr>
        <p:spPr>
          <a:xfrm>
            <a:off x="5522546" y="4475163"/>
            <a:ext cx="1593850" cy="103981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инансирование осуществляется за счет средств работодателя и иных, не запрещенных, источников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="" xmlns:a16="http://schemas.microsoft.com/office/drawing/2014/main" id="{9B59E4DD-9B49-CC56-DCDE-80942D939466}"/>
              </a:ext>
            </a:extLst>
          </p:cNvPr>
          <p:cNvSpPr/>
          <p:nvPr/>
        </p:nvSpPr>
        <p:spPr>
          <a:xfrm>
            <a:off x="5465396" y="1603375"/>
            <a:ext cx="1681163" cy="465138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1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ПИСОЧНЫЙ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="" xmlns:a16="http://schemas.microsoft.com/office/drawing/2014/main" id="{C72D5F42-AC08-B201-37DE-6F7190588592}"/>
              </a:ext>
            </a:extLst>
          </p:cNvPr>
          <p:cNvSpPr/>
          <p:nvPr/>
        </p:nvSpPr>
        <p:spPr>
          <a:xfrm>
            <a:off x="9103946" y="1612900"/>
            <a:ext cx="2225675" cy="460375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1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ИСК</a:t>
            </a:r>
          </a:p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РИЕНТИРОВАННЫЙ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="" xmlns:a16="http://schemas.microsoft.com/office/drawing/2014/main" id="{F20E4C46-574E-589D-004D-3E5BE0036DBC}"/>
              </a:ext>
            </a:extLst>
          </p:cNvPr>
          <p:cNvSpPr/>
          <p:nvPr/>
        </p:nvSpPr>
        <p:spPr>
          <a:xfrm>
            <a:off x="5522546" y="5810250"/>
            <a:ext cx="5800725" cy="41751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конодательство о стандартизации</a:t>
            </a:r>
          </a:p>
        </p:txBody>
      </p:sp>
      <p:sp>
        <p:nvSpPr>
          <p:cNvPr id="57" name="Прямоугольник 56">
            <a:extLst>
              <a:ext uri="{FF2B5EF4-FFF2-40B4-BE49-F238E27FC236}">
                <a16:creationId xmlns="" xmlns:a16="http://schemas.microsoft.com/office/drawing/2014/main" id="{8E625293-021C-3FC4-7A8A-B650D9750F8A}"/>
              </a:ext>
            </a:extLst>
          </p:cNvPr>
          <p:cNvSpPr/>
          <p:nvPr/>
        </p:nvSpPr>
        <p:spPr>
          <a:xfrm>
            <a:off x="9811971" y="2168525"/>
            <a:ext cx="1516063" cy="75406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андарты безопасности труда отдельных видов работ </a:t>
            </a:r>
          </a:p>
        </p:txBody>
      </p:sp>
      <p:sp>
        <p:nvSpPr>
          <p:cNvPr id="63" name="Прямоугольник 62">
            <a:extLst>
              <a:ext uri="{FF2B5EF4-FFF2-40B4-BE49-F238E27FC236}">
                <a16:creationId xmlns="" xmlns:a16="http://schemas.microsoft.com/office/drawing/2014/main" id="{6ABBB723-3136-95A2-1897-BC82057867FB}"/>
              </a:ext>
            </a:extLst>
          </p:cNvPr>
          <p:cNvSpPr/>
          <p:nvPr/>
        </p:nvSpPr>
        <p:spPr>
          <a:xfrm>
            <a:off x="7341821" y="4532313"/>
            <a:ext cx="3986213" cy="49053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дусмотрена возможность приобретения СИЗ за счет работника, а также компенсация расходов работодателем.</a:t>
            </a:r>
          </a:p>
        </p:txBody>
      </p:sp>
      <p:sp>
        <p:nvSpPr>
          <p:cNvPr id="64" name="Прямоугольник 63">
            <a:extLst>
              <a:ext uri="{FF2B5EF4-FFF2-40B4-BE49-F238E27FC236}">
                <a16:creationId xmlns="" xmlns:a16="http://schemas.microsoft.com/office/drawing/2014/main" id="{47E37556-7590-DC0D-5CC8-29A9495E7E97}"/>
              </a:ext>
            </a:extLst>
          </p:cNvPr>
          <p:cNvSpPr/>
          <p:nvPr/>
        </p:nvSpPr>
        <p:spPr>
          <a:xfrm>
            <a:off x="9078546" y="5113338"/>
            <a:ext cx="2244725" cy="60801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сходы на отдельные СИЗ выведены из обязанности работодателя</a:t>
            </a:r>
          </a:p>
        </p:txBody>
      </p:sp>
      <p:sp>
        <p:nvSpPr>
          <p:cNvPr id="40" name="TextBox 33">
            <a:extLst>
              <a:ext uri="{FF2B5EF4-FFF2-40B4-BE49-F238E27FC236}">
                <a16:creationId xmlns="" xmlns:a16="http://schemas.microsoft.com/office/drawing/2014/main" id="{6B5C6D69-0C1F-637D-045F-39A77C6352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96663" y="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kumimoji="0" lang="ru-RU" altLang="ru-RU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4" name="Прямая соединительная линия 43">
            <a:extLst>
              <a:ext uri="{FF2B5EF4-FFF2-40B4-BE49-F238E27FC236}">
                <a16:creationId xmlns="" xmlns:a16="http://schemas.microsoft.com/office/drawing/2014/main" id="{69CE0D03-021E-1AE6-D55E-2BCA59863ACD}"/>
              </a:ext>
            </a:extLst>
          </p:cNvPr>
          <p:cNvCxnSpPr>
            <a:cxnSpLocks/>
          </p:cNvCxnSpPr>
          <p:nvPr/>
        </p:nvCxnSpPr>
        <p:spPr>
          <a:xfrm>
            <a:off x="339159" y="681647"/>
            <a:ext cx="111045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Прямоугольник 45">
            <a:extLst>
              <a:ext uri="{FF2B5EF4-FFF2-40B4-BE49-F238E27FC236}">
                <a16:creationId xmlns="" xmlns:a16="http://schemas.microsoft.com/office/drawing/2014/main" id="{65572AD5-CB3D-7629-4F58-E69E9FF970BD}"/>
              </a:ext>
            </a:extLst>
          </p:cNvPr>
          <p:cNvSpPr/>
          <p:nvPr/>
        </p:nvSpPr>
        <p:spPr>
          <a:xfrm>
            <a:off x="253370" y="982606"/>
            <a:ext cx="2389632" cy="2682273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lvl="0">
              <a:lnSpc>
                <a:spcPct val="90000"/>
              </a:lnSpc>
            </a:pPr>
            <a:r>
              <a:rPr lang="ru-RU" sz="1100" dirty="0" smtClean="0">
                <a:solidFill>
                  <a:srgbClr val="66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РОССИЙСКАЯ ФЕДЕРАЦИЯ</a:t>
            </a:r>
          </a:p>
          <a:p>
            <a:pPr lvl="0">
              <a:lnSpc>
                <a:spcPct val="90000"/>
              </a:lnSpc>
            </a:pPr>
            <a:endParaRPr lang="ru-RU" sz="1100" dirty="0" smtClean="0">
              <a:solidFill>
                <a:srgbClr val="6600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90000"/>
              </a:lnSpc>
            </a:pPr>
            <a:r>
              <a:rPr lang="ru-RU" sz="1100" dirty="0">
                <a:latin typeface="Century Gothic" panose="020B0502020202020204" pitchFamily="34" charset="0"/>
              </a:rPr>
              <a:t>Выбор осуществляется на основании Единых типовых норм по профессиям без учета отрасли, а также на основании единых типовых норм в зависимости от </a:t>
            </a:r>
            <a:r>
              <a:rPr lang="ru-RU" sz="1100" dirty="0" smtClean="0">
                <a:latin typeface="Century Gothic" panose="020B0502020202020204" pitchFamily="34" charset="0"/>
              </a:rPr>
              <a:t>опасности, определяемой по результатам СОУТ и ОПР</a:t>
            </a:r>
            <a:endParaRPr lang="ru-RU" sz="1100" dirty="0">
              <a:latin typeface="Century Gothic" panose="020B0502020202020204" pitchFamily="34" charset="0"/>
            </a:endParaRPr>
          </a:p>
          <a:p>
            <a:pPr algn="just">
              <a:lnSpc>
                <a:spcPct val="90000"/>
              </a:lnSpc>
            </a:pPr>
            <a:r>
              <a:rPr lang="ru-RU" sz="1100" dirty="0">
                <a:latin typeface="Century Gothic" panose="020B0502020202020204" pitchFamily="34" charset="0"/>
              </a:rPr>
              <a:t>Работодатель </a:t>
            </a:r>
            <a:r>
              <a:rPr lang="ru-RU" sz="1100" dirty="0" smtClean="0">
                <a:latin typeface="Century Gothic" panose="020B0502020202020204" pitchFamily="34" charset="0"/>
              </a:rPr>
              <a:t>утверждает локальные нормы по </a:t>
            </a:r>
            <a:r>
              <a:rPr lang="ru-RU" sz="1100" dirty="0">
                <a:latin typeface="Century Gothic" panose="020B0502020202020204" pitchFamily="34" charset="0"/>
              </a:rPr>
              <a:t>согласованию с профсоюзной организацией или </a:t>
            </a:r>
            <a:r>
              <a:rPr lang="ru-RU" sz="1100" dirty="0" smtClean="0">
                <a:latin typeface="Century Gothic" panose="020B0502020202020204" pitchFamily="34" charset="0"/>
              </a:rPr>
              <a:t>иным уполномоченным </a:t>
            </a:r>
            <a:r>
              <a:rPr lang="ru-RU" sz="1100" dirty="0">
                <a:latin typeface="Century Gothic" panose="020B0502020202020204" pitchFamily="34" charset="0"/>
              </a:rPr>
              <a:t>представительного </a:t>
            </a:r>
            <a:r>
              <a:rPr lang="ru-RU" sz="1100" dirty="0" smtClean="0">
                <a:latin typeface="Century Gothic" panose="020B0502020202020204" pitchFamily="34" charset="0"/>
              </a:rPr>
              <a:t>органом </a:t>
            </a:r>
            <a:r>
              <a:rPr lang="ru-RU" sz="1100" dirty="0">
                <a:latin typeface="Century Gothic" panose="020B0502020202020204" pitchFamily="34" charset="0"/>
              </a:rPr>
              <a:t>работников</a:t>
            </a:r>
          </a:p>
        </p:txBody>
      </p:sp>
      <p:sp>
        <p:nvSpPr>
          <p:cNvPr id="47" name="Прямоугольник: скругленные углы 2">
            <a:extLst>
              <a:ext uri="{FF2B5EF4-FFF2-40B4-BE49-F238E27FC236}">
                <a16:creationId xmlns=""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253370" y="868150"/>
            <a:ext cx="2422774" cy="2911186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DFBD3860-2D59-B28A-E50E-47D685892230}"/>
              </a:ext>
            </a:extLst>
          </p:cNvPr>
          <p:cNvSpPr txBox="1"/>
          <p:nvPr/>
        </p:nvSpPr>
        <p:spPr>
          <a:xfrm>
            <a:off x="253370" y="3612806"/>
            <a:ext cx="2434966" cy="280986"/>
          </a:xfrm>
          <a:prstGeom prst="rect">
            <a:avLst/>
          </a:prstGeom>
          <a:solidFill>
            <a:srgbClr val="7371B3"/>
          </a:solidFill>
          <a:ln>
            <a:solidFill>
              <a:srgbClr val="C9CBE7"/>
            </a:solidFill>
          </a:ln>
        </p:spPr>
        <p:txBody>
          <a:bodyPr wrap="square" rtlCol="0">
            <a:spAutoFit/>
          </a:bodyPr>
          <a:lstStyle/>
          <a:p>
            <a:pPr lvl="0" algn="ctr"/>
            <a:endParaRPr lang="ru-RU" sz="14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3" name="Прямоугольник 52">
            <a:extLst>
              <a:ext uri="{FF2B5EF4-FFF2-40B4-BE49-F238E27FC236}">
                <a16:creationId xmlns="" xmlns:a16="http://schemas.microsoft.com/office/drawing/2014/main" id="{65572AD5-CB3D-7629-4F58-E69E9FF970BD}"/>
              </a:ext>
            </a:extLst>
          </p:cNvPr>
          <p:cNvSpPr/>
          <p:nvPr/>
        </p:nvSpPr>
        <p:spPr>
          <a:xfrm>
            <a:off x="2840164" y="2672037"/>
            <a:ext cx="2389632" cy="4053417"/>
          </a:xfrm>
          <a:prstGeom prst="rect">
            <a:avLst/>
          </a:prstGeom>
        </p:spPr>
        <p:txBody>
          <a:bodyPr wrap="square" lIns="90000">
            <a:spAutoFit/>
          </a:bodyPr>
          <a:lstStyle/>
          <a:p>
            <a:pPr lvl="0">
              <a:lnSpc>
                <a:spcPct val="90000"/>
              </a:lnSpc>
            </a:pPr>
            <a:r>
              <a:rPr lang="ru-RU" sz="1100" dirty="0" smtClean="0">
                <a:solidFill>
                  <a:srgbClr val="66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СТРАНЫ ЕС</a:t>
            </a:r>
          </a:p>
          <a:p>
            <a:pPr lvl="0">
              <a:lnSpc>
                <a:spcPct val="90000"/>
              </a:lnSpc>
            </a:pPr>
            <a:endParaRPr lang="ru-RU" sz="1100" dirty="0" smtClean="0">
              <a:solidFill>
                <a:srgbClr val="6600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90000"/>
              </a:lnSpc>
            </a:pPr>
            <a:r>
              <a:rPr lang="ru-RU" sz="1100" dirty="0">
                <a:latin typeface="Century Gothic" panose="020B0502020202020204" pitchFamily="34" charset="0"/>
              </a:rPr>
              <a:t>Работодатель самостоятельным определением на уровне предприятия  СИЗ и установлением сроков их эксплуатации с учетом локальных специфичных условий. Основанием выбора СИЗ являются результаты оценки профессиональных рисков для здоровья работников.  В странах ЕС процессы оценки соответствия средств индивидуальной защиты проводятся только согласно Регламенту Европейского Союза </a:t>
            </a:r>
            <a:r>
              <a:rPr lang="ru-RU" sz="1100" dirty="0" smtClean="0">
                <a:latin typeface="Century Gothic" panose="020B0502020202020204" pitchFamily="34" charset="0"/>
              </a:rPr>
              <a:t>2016/425.</a:t>
            </a:r>
          </a:p>
          <a:p>
            <a:pPr algn="just">
              <a:lnSpc>
                <a:spcPct val="90000"/>
              </a:lnSpc>
            </a:pPr>
            <a:r>
              <a:rPr lang="ru-RU" sz="1100" dirty="0" smtClean="0">
                <a:latin typeface="Century Gothic" panose="020B0502020202020204" pitchFamily="34" charset="0"/>
              </a:rPr>
              <a:t>Например </a:t>
            </a:r>
            <a:r>
              <a:rPr lang="ru-RU" sz="1100" dirty="0">
                <a:latin typeface="Century Gothic" panose="020B0502020202020204" pitchFamily="34" charset="0"/>
              </a:rPr>
              <a:t>в Швейцарии выбор СИЗ работников может осуществить на государственном сайте «</a:t>
            </a:r>
            <a:r>
              <a:rPr lang="ru-RU" sz="1100" dirty="0" err="1">
                <a:latin typeface="Century Gothic" panose="020B0502020202020204" pitchFamily="34" charset="0"/>
              </a:rPr>
              <a:t>Sapros</a:t>
            </a:r>
            <a:r>
              <a:rPr lang="ru-RU" sz="1100" dirty="0">
                <a:latin typeface="Century Gothic" panose="020B0502020202020204" pitchFamily="34" charset="0"/>
              </a:rPr>
              <a:t>».</a:t>
            </a:r>
          </a:p>
        </p:txBody>
      </p:sp>
      <p:sp>
        <p:nvSpPr>
          <p:cNvPr id="54" name="Прямоугольник: скругленные углы 2">
            <a:extLst>
              <a:ext uri="{FF2B5EF4-FFF2-40B4-BE49-F238E27FC236}">
                <a16:creationId xmlns=""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2840164" y="2557580"/>
            <a:ext cx="2422774" cy="4211519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DFBD3860-2D59-B28A-E50E-47D685892230}"/>
              </a:ext>
            </a:extLst>
          </p:cNvPr>
          <p:cNvSpPr txBox="1"/>
          <p:nvPr/>
        </p:nvSpPr>
        <p:spPr>
          <a:xfrm>
            <a:off x="2829220" y="6488114"/>
            <a:ext cx="2434966" cy="280986"/>
          </a:xfrm>
          <a:prstGeom prst="rect">
            <a:avLst/>
          </a:prstGeom>
          <a:solidFill>
            <a:srgbClr val="7371B3"/>
          </a:solidFill>
          <a:ln>
            <a:solidFill>
              <a:srgbClr val="C9CBE7"/>
            </a:solidFill>
          </a:ln>
        </p:spPr>
        <p:txBody>
          <a:bodyPr wrap="square" rtlCol="0">
            <a:spAutoFit/>
          </a:bodyPr>
          <a:lstStyle/>
          <a:p>
            <a:pPr lvl="0" algn="ctr"/>
            <a:endParaRPr lang="ru-RU" sz="1400" b="1" dirty="0">
              <a:solidFill>
                <a:srgbClr val="FFFFFF"/>
              </a:solidFill>
              <a:latin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рямоугольник 34">
            <a:extLst>
              <a:ext uri="{FF2B5EF4-FFF2-40B4-BE49-F238E27FC236}">
                <a16:creationId xmlns="" xmlns:a16="http://schemas.microsoft.com/office/drawing/2014/main" id="{6DFA0A2B-5967-E95F-17F1-A897DEBA8182}"/>
              </a:ext>
            </a:extLst>
          </p:cNvPr>
          <p:cNvSpPr/>
          <p:nvPr/>
        </p:nvSpPr>
        <p:spPr>
          <a:xfrm>
            <a:off x="3575722" y="1077243"/>
            <a:ext cx="2538413" cy="4725680"/>
          </a:xfrm>
          <a:prstGeom prst="rect">
            <a:avLst/>
          </a:prstGeom>
          <a:solidFill>
            <a:schemeClr val="accent5">
              <a:lumMod val="60000"/>
              <a:lumOff val="40000"/>
              <a:alpha val="47843"/>
            </a:schemeClr>
          </a:solidFill>
          <a:ln w="317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="" xmlns:a16="http://schemas.microsoft.com/office/drawing/2014/main" id="{38810FC6-D6FF-5A0A-B4E8-4F57B96F9BCF}"/>
              </a:ext>
            </a:extLst>
          </p:cNvPr>
          <p:cNvSpPr/>
          <p:nvPr/>
        </p:nvSpPr>
        <p:spPr>
          <a:xfrm>
            <a:off x="1892972" y="1077243"/>
            <a:ext cx="1631950" cy="4725680"/>
          </a:xfrm>
          <a:prstGeom prst="rect">
            <a:avLst/>
          </a:prstGeom>
          <a:solidFill>
            <a:schemeClr val="accent6">
              <a:lumMod val="60000"/>
              <a:lumOff val="40000"/>
              <a:alpha val="47843"/>
            </a:schemeClr>
          </a:solidFill>
          <a:ln w="63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D1B893F2-1C0B-745F-9A12-080A6290BEBF}"/>
              </a:ext>
            </a:extLst>
          </p:cNvPr>
          <p:cNvSpPr/>
          <p:nvPr/>
        </p:nvSpPr>
        <p:spPr>
          <a:xfrm>
            <a:off x="22897" y="1077243"/>
            <a:ext cx="1825625" cy="4725680"/>
          </a:xfrm>
          <a:prstGeom prst="rect">
            <a:avLst/>
          </a:prstGeom>
          <a:solidFill>
            <a:srgbClr val="ACCBF9">
              <a:alpha val="47843"/>
            </a:srgbClr>
          </a:solidFill>
          <a:ln w="6350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3D186868-5961-9F58-45C1-A0D8A1A0EE9B}"/>
              </a:ext>
            </a:extLst>
          </p:cNvPr>
          <p:cNvSpPr/>
          <p:nvPr/>
        </p:nvSpPr>
        <p:spPr>
          <a:xfrm>
            <a:off x="107950" y="141811"/>
            <a:ext cx="1031043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alt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овные особенности подходов и регламентирующих норм  в обеспечении СИЗ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AF7636CA-7A8A-8411-0991-30D4EE6734A1}"/>
              </a:ext>
            </a:extLst>
          </p:cNvPr>
          <p:cNvSpPr/>
          <p:nvPr/>
        </p:nvSpPr>
        <p:spPr>
          <a:xfrm>
            <a:off x="1159974" y="625018"/>
            <a:ext cx="3435350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234F7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ХАНИЗМ ОБЕСПЕЧЕНИЯ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28F8E9B8-2688-C393-4E53-2DAAB7479E55}"/>
              </a:ext>
            </a:extLst>
          </p:cNvPr>
          <p:cNvSpPr/>
          <p:nvPr/>
        </p:nvSpPr>
        <p:spPr>
          <a:xfrm>
            <a:off x="137197" y="4968206"/>
            <a:ext cx="2509838" cy="673100"/>
          </a:xfrm>
          <a:prstGeom prst="rect">
            <a:avLst/>
          </a:prstGeom>
          <a:solidFill>
            <a:srgbClr val="629DD1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1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огая регламентация порядка выдачи, хранения, обслуживания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635B2C85-BABA-80AB-585C-C81AE3B09464}"/>
              </a:ext>
            </a:extLst>
          </p:cNvPr>
          <p:cNvSpPr/>
          <p:nvPr/>
        </p:nvSpPr>
        <p:spPr>
          <a:xfrm>
            <a:off x="138785" y="2166268"/>
            <a:ext cx="1593850" cy="189071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тверждается перечень профессий и должностей работников подлежащих обеспечению СИЗ, без учета фактического состояния условий труда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8438CF00-91CA-AE08-4469-8F63CDE3BBEC}"/>
              </a:ext>
            </a:extLst>
          </p:cNvPr>
          <p:cNvSpPr/>
          <p:nvPr/>
        </p:nvSpPr>
        <p:spPr>
          <a:xfrm>
            <a:off x="1975522" y="2553618"/>
            <a:ext cx="4057650" cy="77311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ботники, подлежащие обеспечению СИЗ определяются на основе оценки профессионального риска и условий труда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10FBD5B4-4FA4-210D-A7A2-51DFFD3CCB0E}"/>
              </a:ext>
            </a:extLst>
          </p:cNvPr>
          <p:cNvSpPr/>
          <p:nvPr/>
        </p:nvSpPr>
        <p:spPr>
          <a:xfrm>
            <a:off x="1967585" y="3372768"/>
            <a:ext cx="2805112" cy="62547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тверждается перечень факторов/рисков и видов СИЗ, подлежащих выдачи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="" xmlns:a16="http://schemas.microsoft.com/office/drawing/2014/main" id="{7B353EA9-3607-CCF7-817A-DC9EEAF96146}"/>
              </a:ext>
            </a:extLst>
          </p:cNvPr>
          <p:cNvSpPr/>
          <p:nvPr/>
        </p:nvSpPr>
        <p:spPr>
          <a:xfrm>
            <a:off x="1937422" y="1132806"/>
            <a:ext cx="1485900" cy="466725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1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ИБРИДНЫЙ</a:t>
            </a:r>
          </a:p>
        </p:txBody>
      </p:sp>
      <p:sp>
        <p:nvSpPr>
          <p:cNvPr id="50" name="Прямоугольник 49">
            <a:extLst>
              <a:ext uri="{FF2B5EF4-FFF2-40B4-BE49-F238E27FC236}">
                <a16:creationId xmlns="" xmlns:a16="http://schemas.microsoft.com/office/drawing/2014/main" id="{75FE95B0-7E9D-E793-113C-D3A7A703AF04}"/>
              </a:ext>
            </a:extLst>
          </p:cNvPr>
          <p:cNvSpPr/>
          <p:nvPr/>
        </p:nvSpPr>
        <p:spPr>
          <a:xfrm>
            <a:off x="138785" y="1131218"/>
            <a:ext cx="1593850" cy="465138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1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ПИСОЧНЫЙ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="" xmlns:a16="http://schemas.microsoft.com/office/drawing/2014/main" id="{6B2EA82A-22FA-969E-7C44-1644FF1F3C19}"/>
              </a:ext>
            </a:extLst>
          </p:cNvPr>
          <p:cNvSpPr/>
          <p:nvPr/>
        </p:nvSpPr>
        <p:spPr>
          <a:xfrm>
            <a:off x="3690022" y="1137568"/>
            <a:ext cx="2343150" cy="46513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1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ИСК</a:t>
            </a:r>
          </a:p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РИЕНТИРОВАННЫЙ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="" xmlns:a16="http://schemas.microsoft.com/office/drawing/2014/main" id="{359CBB7B-F568-385C-2BA5-9769F68DB945}"/>
              </a:ext>
            </a:extLst>
          </p:cNvPr>
          <p:cNvSpPr/>
          <p:nvPr/>
        </p:nvSpPr>
        <p:spPr>
          <a:xfrm>
            <a:off x="145135" y="1747168"/>
            <a:ext cx="3278187" cy="357188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конодательные и подзаконные акты</a:t>
            </a:r>
          </a:p>
        </p:txBody>
      </p:sp>
      <p:sp>
        <p:nvSpPr>
          <p:cNvPr id="55" name="Прямоугольник 54">
            <a:extLst>
              <a:ext uri="{FF2B5EF4-FFF2-40B4-BE49-F238E27FC236}">
                <a16:creationId xmlns="" xmlns:a16="http://schemas.microsoft.com/office/drawing/2014/main" id="{B7654810-4118-8361-3D24-AA53C0DD76FD}"/>
              </a:ext>
            </a:extLst>
          </p:cNvPr>
          <p:cNvSpPr/>
          <p:nvPr/>
        </p:nvSpPr>
        <p:spPr>
          <a:xfrm>
            <a:off x="3670972" y="1707481"/>
            <a:ext cx="1101725" cy="74295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кты работодателя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="" xmlns:a16="http://schemas.microsoft.com/office/drawing/2014/main" id="{E07EA251-06F8-1B87-2647-986AE78532B3}"/>
              </a:ext>
            </a:extLst>
          </p:cNvPr>
          <p:cNvSpPr/>
          <p:nvPr/>
        </p:nvSpPr>
        <p:spPr>
          <a:xfrm>
            <a:off x="4907635" y="1683668"/>
            <a:ext cx="1103312" cy="7842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андарты безопасности труда отдельных видов работ </a:t>
            </a:r>
          </a:p>
        </p:txBody>
      </p:sp>
      <p:sp>
        <p:nvSpPr>
          <p:cNvPr id="59" name="Прямоугольник 58">
            <a:extLst>
              <a:ext uri="{FF2B5EF4-FFF2-40B4-BE49-F238E27FC236}">
                <a16:creationId xmlns="" xmlns:a16="http://schemas.microsoft.com/office/drawing/2014/main" id="{F5155752-D513-C724-AAD6-3DCEEC91EF1E}"/>
              </a:ext>
            </a:extLst>
          </p:cNvPr>
          <p:cNvSpPr/>
          <p:nvPr/>
        </p:nvSpPr>
        <p:spPr>
          <a:xfrm>
            <a:off x="138785" y="4137943"/>
            <a:ext cx="1593850" cy="65722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тверждаются нормы выдачи, комплектность и сроки носки</a:t>
            </a:r>
          </a:p>
        </p:txBody>
      </p:sp>
      <p:sp>
        <p:nvSpPr>
          <p:cNvPr id="60" name="Прямоугольник 59">
            <a:extLst>
              <a:ext uri="{FF2B5EF4-FFF2-40B4-BE49-F238E27FC236}">
                <a16:creationId xmlns="" xmlns:a16="http://schemas.microsoft.com/office/drawing/2014/main" id="{39BF4647-D408-5D9A-A093-7B21B924FCDE}"/>
              </a:ext>
            </a:extLst>
          </p:cNvPr>
          <p:cNvSpPr/>
          <p:nvPr/>
        </p:nvSpPr>
        <p:spPr>
          <a:xfrm>
            <a:off x="1980285" y="4137943"/>
            <a:ext cx="4052887" cy="61277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ормы выдачи, комплектность и сроки носки утверждаются актом работодателя согласно требованиям изготовителя СИЗ</a:t>
            </a:r>
          </a:p>
        </p:txBody>
      </p:sp>
      <p:sp>
        <p:nvSpPr>
          <p:cNvPr id="61" name="Прямоугольник 60">
            <a:extLst>
              <a:ext uri="{FF2B5EF4-FFF2-40B4-BE49-F238E27FC236}">
                <a16:creationId xmlns="" xmlns:a16="http://schemas.microsoft.com/office/drawing/2014/main" id="{1FD0B9FE-46F2-FED2-14DB-FA4B0EB9BA6B}"/>
              </a:ext>
            </a:extLst>
          </p:cNvPr>
          <p:cNvSpPr/>
          <p:nvPr/>
        </p:nvSpPr>
        <p:spPr>
          <a:xfrm>
            <a:off x="2748635" y="4956727"/>
            <a:ext cx="3176587" cy="674687"/>
          </a:xfrm>
          <a:prstGeom prst="rect">
            <a:avLst/>
          </a:prstGeom>
          <a:solidFill>
            <a:srgbClr val="629DD1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1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рядок выдачи, хранения, обслуживания определяется работодателем, предусматривается компенсация затрат работнику</a:t>
            </a:r>
          </a:p>
        </p:txBody>
      </p:sp>
      <p:sp>
        <p:nvSpPr>
          <p:cNvPr id="40" name="TextBox 33">
            <a:extLst>
              <a:ext uri="{FF2B5EF4-FFF2-40B4-BE49-F238E27FC236}">
                <a16:creationId xmlns="" xmlns:a16="http://schemas.microsoft.com/office/drawing/2014/main" id="{6B5C6D69-0C1F-637D-045F-39A77C6352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96663" y="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endParaRPr kumimoji="0" lang="ru-RU" altLang="ru-RU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4" name="Прямая соединительная линия 43">
            <a:extLst>
              <a:ext uri="{FF2B5EF4-FFF2-40B4-BE49-F238E27FC236}">
                <a16:creationId xmlns="" xmlns:a16="http://schemas.microsoft.com/office/drawing/2014/main" id="{69CE0D03-021E-1AE6-D55E-2BCA59863ACD}"/>
              </a:ext>
            </a:extLst>
          </p:cNvPr>
          <p:cNvCxnSpPr>
            <a:cxnSpLocks/>
          </p:cNvCxnSpPr>
          <p:nvPr/>
        </p:nvCxnSpPr>
        <p:spPr>
          <a:xfrm>
            <a:off x="339159" y="681647"/>
            <a:ext cx="111045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>
            <a:extLst>
              <a:ext uri="{FF2B5EF4-FFF2-40B4-BE49-F238E27FC236}">
                <a16:creationId xmlns="" xmlns:a16="http://schemas.microsoft.com/office/drawing/2014/main" id="{32DC2451-6CD9-9322-0954-7056E95D6357}"/>
              </a:ext>
            </a:extLst>
          </p:cNvPr>
          <p:cNvSpPr/>
          <p:nvPr/>
        </p:nvSpPr>
        <p:spPr>
          <a:xfrm>
            <a:off x="6212925" y="1078522"/>
            <a:ext cx="1825625" cy="5781674"/>
          </a:xfrm>
          <a:prstGeom prst="rect">
            <a:avLst/>
          </a:prstGeom>
          <a:solidFill>
            <a:srgbClr val="ACCBF9">
              <a:alpha val="47843"/>
            </a:srgbClr>
          </a:solidFill>
          <a:ln w="6350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="" xmlns:a16="http://schemas.microsoft.com/office/drawing/2014/main" id="{15D2EBE6-6C84-9F53-F50C-6AEBDFDCBA45}"/>
              </a:ext>
            </a:extLst>
          </p:cNvPr>
          <p:cNvSpPr/>
          <p:nvPr/>
        </p:nvSpPr>
        <p:spPr>
          <a:xfrm>
            <a:off x="8116337" y="1078522"/>
            <a:ext cx="1630363" cy="5781674"/>
          </a:xfrm>
          <a:prstGeom prst="rect">
            <a:avLst/>
          </a:prstGeom>
          <a:solidFill>
            <a:schemeClr val="accent6">
              <a:lumMod val="60000"/>
              <a:lumOff val="40000"/>
              <a:alpha val="47843"/>
            </a:schemeClr>
          </a:solidFill>
          <a:ln w="63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26D4BCD0-3D1F-9E0C-0DB1-D9B2E2DBC2B6}"/>
              </a:ext>
            </a:extLst>
          </p:cNvPr>
          <p:cNvSpPr/>
          <p:nvPr/>
        </p:nvSpPr>
        <p:spPr>
          <a:xfrm>
            <a:off x="9813375" y="1078522"/>
            <a:ext cx="2403475" cy="5781673"/>
          </a:xfrm>
          <a:prstGeom prst="rect">
            <a:avLst/>
          </a:prstGeom>
          <a:solidFill>
            <a:schemeClr val="accent5">
              <a:lumMod val="60000"/>
              <a:lumOff val="40000"/>
              <a:alpha val="47843"/>
            </a:schemeClr>
          </a:solidFill>
          <a:ln w="317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A8022C92-A3E6-F28B-1A8A-211F4273C1DC}"/>
              </a:ext>
            </a:extLst>
          </p:cNvPr>
          <p:cNvSpPr/>
          <p:nvPr/>
        </p:nvSpPr>
        <p:spPr>
          <a:xfrm>
            <a:off x="6303412" y="2096108"/>
            <a:ext cx="1709738" cy="739775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сутствие необходимости согласования Норм выдачи СИЗ 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="" xmlns:a16="http://schemas.microsoft.com/office/drawing/2014/main" id="{E7CB75C2-815A-B3AD-D8CE-E0BAC122A29B}"/>
              </a:ext>
            </a:extLst>
          </p:cNvPr>
          <p:cNvSpPr/>
          <p:nvPr/>
        </p:nvSpPr>
        <p:spPr>
          <a:xfrm>
            <a:off x="8192537" y="1161802"/>
            <a:ext cx="1471613" cy="465138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1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ИБРИДНЫЙ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4FDF533E-AA72-1A88-78B2-FE86F9CC2457}"/>
              </a:ext>
            </a:extLst>
          </p:cNvPr>
          <p:cNvSpPr/>
          <p:nvPr/>
        </p:nvSpPr>
        <p:spPr>
          <a:xfrm>
            <a:off x="6360562" y="4156683"/>
            <a:ext cx="4262438" cy="43338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уществляется Государственной инспекцией труда в ходе различного рода проверок, посещений, надзора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="" xmlns:a16="http://schemas.microsoft.com/office/drawing/2014/main" id="{594068D7-6910-B8E2-E467-93487513F957}"/>
              </a:ext>
            </a:extLst>
          </p:cNvPr>
          <p:cNvSpPr/>
          <p:nvPr/>
        </p:nvSpPr>
        <p:spPr>
          <a:xfrm>
            <a:off x="6274837" y="1161802"/>
            <a:ext cx="1679575" cy="465138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1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ПИСОЧНЫЙ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ECE52270-9126-29F1-A4F0-9A40EB455311}"/>
              </a:ext>
            </a:extLst>
          </p:cNvPr>
          <p:cNvSpPr/>
          <p:nvPr/>
        </p:nvSpPr>
        <p:spPr>
          <a:xfrm>
            <a:off x="9911800" y="1171327"/>
            <a:ext cx="2225675" cy="45878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1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ИСК</a:t>
            </a:r>
          </a:p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РИЕНТИРОВАННЫЙ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C82A73A3-252D-3B16-3F4D-7DEFBD8D69BA}"/>
              </a:ext>
            </a:extLst>
          </p:cNvPr>
          <p:cNvSpPr/>
          <p:nvPr/>
        </p:nvSpPr>
        <p:spPr>
          <a:xfrm>
            <a:off x="6317700" y="5601308"/>
            <a:ext cx="3346450" cy="35560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лужба 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иОТ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рганизации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B49857B4-791C-E5B5-7C14-41C8C702DF5C}"/>
              </a:ext>
            </a:extLst>
          </p:cNvPr>
          <p:cNvSpPr/>
          <p:nvPr/>
        </p:nvSpPr>
        <p:spPr>
          <a:xfrm>
            <a:off x="8179837" y="2550133"/>
            <a:ext cx="3951288" cy="52228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язательное согласование акта работодателя по обеспечению работника СИЗ с профсоюзами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9B6772F5-9185-40E0-DA78-5A7D27308232}"/>
              </a:ext>
            </a:extLst>
          </p:cNvPr>
          <p:cNvSpPr/>
          <p:nvPr/>
        </p:nvSpPr>
        <p:spPr>
          <a:xfrm>
            <a:off x="6303412" y="3699483"/>
            <a:ext cx="5799138" cy="37306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осударственный контроль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52E3B923-3CBE-DC5C-5283-BB670B81B9F2}"/>
              </a:ext>
            </a:extLst>
          </p:cNvPr>
          <p:cNvSpPr/>
          <p:nvPr/>
        </p:nvSpPr>
        <p:spPr>
          <a:xfrm>
            <a:off x="6338337" y="6026758"/>
            <a:ext cx="5775325" cy="34290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щественный контроль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="" xmlns:a16="http://schemas.microsoft.com/office/drawing/2014/main" id="{4B83CAEA-06AB-923C-898F-FC06CEEFB91E}"/>
              </a:ext>
            </a:extLst>
          </p:cNvPr>
          <p:cNvSpPr/>
          <p:nvPr/>
        </p:nvSpPr>
        <p:spPr>
          <a:xfrm>
            <a:off x="6306587" y="5171095"/>
            <a:ext cx="5800725" cy="39687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утренний контроль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="" xmlns:a16="http://schemas.microsoft.com/office/drawing/2014/main" id="{9605C9D5-BFB8-A490-36C4-C6A437478426}"/>
              </a:ext>
            </a:extLst>
          </p:cNvPr>
          <p:cNvSpPr/>
          <p:nvPr/>
        </p:nvSpPr>
        <p:spPr>
          <a:xfrm>
            <a:off x="10667450" y="4142395"/>
            <a:ext cx="1470025" cy="479425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раслевые инспекционные органы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="" xmlns:a16="http://schemas.microsoft.com/office/drawing/2014/main" id="{39C1A9B2-FC57-A9C8-662B-C4BC5A088501}"/>
              </a:ext>
            </a:extLst>
          </p:cNvPr>
          <p:cNvSpPr/>
          <p:nvPr/>
        </p:nvSpPr>
        <p:spPr>
          <a:xfrm>
            <a:off x="6346275" y="6417283"/>
            <a:ext cx="3317875" cy="415925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ехнические инспектора безопасности труда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="" xmlns:a16="http://schemas.microsoft.com/office/drawing/2014/main" id="{56E6C42F-2244-B7F0-370A-2607CA5FD527}"/>
              </a:ext>
            </a:extLst>
          </p:cNvPr>
          <p:cNvSpPr/>
          <p:nvPr/>
        </p:nvSpPr>
        <p:spPr>
          <a:xfrm>
            <a:off x="9865762" y="5601308"/>
            <a:ext cx="2205038" cy="36830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итеты охраны и гигиены труда 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="" xmlns:a16="http://schemas.microsoft.com/office/drawing/2014/main" id="{AD1BA63A-1837-8A9F-8EDE-AC1D3A7FC56D}"/>
              </a:ext>
            </a:extLst>
          </p:cNvPr>
          <p:cNvSpPr/>
          <p:nvPr/>
        </p:nvSpPr>
        <p:spPr>
          <a:xfrm>
            <a:off x="9911800" y="6429983"/>
            <a:ext cx="2203450" cy="38100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дставители профсоюзов, страховых организаций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E0FE21A4-3A66-D2E1-004C-E107A6E79B32}"/>
              </a:ext>
            </a:extLst>
          </p:cNvPr>
          <p:cNvSpPr/>
          <p:nvPr/>
        </p:nvSpPr>
        <p:spPr>
          <a:xfrm>
            <a:off x="6274837" y="1691295"/>
            <a:ext cx="5856288" cy="36988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ГЛАСОВАНИЕ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="" xmlns:a16="http://schemas.microsoft.com/office/drawing/2014/main" id="{2130F08A-E543-E4F9-32B2-5F827839441F}"/>
              </a:ext>
            </a:extLst>
          </p:cNvPr>
          <p:cNvSpPr/>
          <p:nvPr/>
        </p:nvSpPr>
        <p:spPr>
          <a:xfrm>
            <a:off x="9848300" y="4680558"/>
            <a:ext cx="2317750" cy="40005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осударственные  научно-исследовательские центры</a:t>
            </a:r>
          </a:p>
        </p:txBody>
      </p:sp>
      <p:sp>
        <p:nvSpPr>
          <p:cNvPr id="53" name="Прямоугольник 52">
            <a:extLst>
              <a:ext uri="{FF2B5EF4-FFF2-40B4-BE49-F238E27FC236}">
                <a16:creationId xmlns="" xmlns:a16="http://schemas.microsoft.com/office/drawing/2014/main" id="{ECDEED6D-4200-F0D3-8B5C-5E570E76F53B}"/>
              </a:ext>
            </a:extLst>
          </p:cNvPr>
          <p:cNvSpPr/>
          <p:nvPr/>
        </p:nvSpPr>
        <p:spPr>
          <a:xfrm>
            <a:off x="8162375" y="2108808"/>
            <a:ext cx="3968750" cy="39370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язательное согласование результатов оценки профессиональных рисков с профсоюзами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="" xmlns:a16="http://schemas.microsoft.com/office/drawing/2014/main" id="{C4F2D5E8-E3DA-AA14-AB77-C495BF6E1F84}"/>
              </a:ext>
            </a:extLst>
          </p:cNvPr>
          <p:cNvSpPr/>
          <p:nvPr/>
        </p:nvSpPr>
        <p:spPr>
          <a:xfrm>
            <a:off x="9938787" y="3147033"/>
            <a:ext cx="2132013" cy="44608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marL="0" marR="0" lvl="0" indent="0" algn="ctr" defTabSz="488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отдельных случаях согласование с работником</a:t>
            </a:r>
          </a:p>
        </p:txBody>
      </p:sp>
      <p:sp>
        <p:nvSpPr>
          <p:cNvPr id="57" name="Прямоугольник 56">
            <a:extLst>
              <a:ext uri="{FF2B5EF4-FFF2-40B4-BE49-F238E27FC236}">
                <a16:creationId xmlns="" xmlns:a16="http://schemas.microsoft.com/office/drawing/2014/main" id="{AF7636CA-7A8A-8411-0991-30D4EE6734A1}"/>
              </a:ext>
            </a:extLst>
          </p:cNvPr>
          <p:cNvSpPr/>
          <p:nvPr/>
        </p:nvSpPr>
        <p:spPr>
          <a:xfrm>
            <a:off x="7171957" y="637927"/>
            <a:ext cx="4108084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0305" tIns="60305" rIns="60305" bIns="60305" spcCol="1270" anchor="ctr"/>
          <a:lstStyle/>
          <a:p>
            <a:pPr lvl="0" algn="ctr" defTabSz="48895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altLang="en-US" b="1" dirty="0" smtClean="0">
                <a:solidFill>
                  <a:srgbClr val="234F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СОВАНИЕ И КОНТРОЛЬ</a:t>
            </a:r>
            <a:endParaRPr lang="ru-RU" b="1" dirty="0">
              <a:solidFill>
                <a:srgbClr val="234F7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 69">
            <a:extLst>
              <a:ext uri="{FF2B5EF4-FFF2-40B4-BE49-F238E27FC236}">
                <a16:creationId xmlns="" xmlns:a16="http://schemas.microsoft.com/office/drawing/2014/main" id="{A0B3A6BB-7FA2-0665-E8BF-36D67817D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950" y="5883885"/>
            <a:ext cx="5925222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а основании изучения регламентирующих норм в применении СИЗ выявлена необходимость перехода системы обеспечения средствами индивидуальной защиты на риск-ориентированный подход, с элементами гибридного в части регламентации номенклатуры СИЗ в зависимости от вредных факторов и рисков, присущих условиям труда конкретного работника</a:t>
            </a:r>
          </a:p>
        </p:txBody>
      </p:sp>
    </p:spTree>
    <p:extLst>
      <p:ext uri="{BB962C8B-B14F-4D97-AF65-F5344CB8AC3E}">
        <p14:creationId xmlns:p14="http://schemas.microsoft.com/office/powerpoint/2010/main" val="4279277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6">
            <a:extLst>
              <a:ext uri="{FF2B5EF4-FFF2-40B4-BE49-F238E27FC236}">
                <a16:creationId xmlns="" xmlns:a16="http://schemas.microsoft.com/office/drawing/2014/main" id="{30B62179-3100-B438-B924-B34CB7AFF3A2}"/>
              </a:ext>
            </a:extLst>
          </p:cNvPr>
          <p:cNvSpPr/>
          <p:nvPr/>
        </p:nvSpPr>
        <p:spPr>
          <a:xfrm>
            <a:off x="77516" y="919163"/>
            <a:ext cx="5068914" cy="5513212"/>
          </a:xfrm>
          <a:prstGeom prst="homePlate">
            <a:avLst>
              <a:gd name="adj" fmla="val 13243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12000" rIns="0" bIns="0"/>
          <a:lstStyle/>
          <a:p>
            <a:pPr algn="ctr" defTabSz="914324">
              <a:defRPr/>
            </a:pPr>
            <a:endParaRPr lang="en-US" sz="14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7171" name="TextBox 4">
            <a:extLst>
              <a:ext uri="{FF2B5EF4-FFF2-40B4-BE49-F238E27FC236}">
                <a16:creationId xmlns="" xmlns:a16="http://schemas.microsoft.com/office/drawing/2014/main" id="{595F4B44-D843-7995-828D-F682257BE8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4625" y="39966"/>
            <a:ext cx="974360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фференциация  рабочего места по степени профриска</a:t>
            </a:r>
          </a:p>
        </p:txBody>
      </p:sp>
      <p:sp>
        <p:nvSpPr>
          <p:cNvPr id="7172" name="TextBox 61">
            <a:extLst>
              <a:ext uri="{FF2B5EF4-FFF2-40B4-BE49-F238E27FC236}">
                <a16:creationId xmlns="" xmlns:a16="http://schemas.microsoft.com/office/drawing/2014/main" id="{0EAC8CF1-E49F-C84E-286D-9817CDD076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8438" y="678060"/>
            <a:ext cx="286226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СЕЙЧАС</a:t>
            </a:r>
          </a:p>
        </p:txBody>
      </p:sp>
      <p:cxnSp>
        <p:nvCxnSpPr>
          <p:cNvPr id="93" name="Прямая соединительная линия 92">
            <a:extLst>
              <a:ext uri="{FF2B5EF4-FFF2-40B4-BE49-F238E27FC236}">
                <a16:creationId xmlns="" xmlns:a16="http://schemas.microsoft.com/office/drawing/2014/main" id="{3428FE03-49F1-7250-CC61-19735AAC8088}"/>
              </a:ext>
            </a:extLst>
          </p:cNvPr>
          <p:cNvCxnSpPr>
            <a:cxnSpLocks/>
          </p:cNvCxnSpPr>
          <p:nvPr/>
        </p:nvCxnSpPr>
        <p:spPr>
          <a:xfrm>
            <a:off x="315118" y="512434"/>
            <a:ext cx="115617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75" name="TextBox 1">
            <a:extLst>
              <a:ext uri="{FF2B5EF4-FFF2-40B4-BE49-F238E27FC236}">
                <a16:creationId xmlns="" xmlns:a16="http://schemas.microsoft.com/office/drawing/2014/main" id="{36B139CB-7E70-7402-6314-13EE6A0961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30397" y="2287588"/>
            <a:ext cx="1189037" cy="446087"/>
          </a:xfrm>
          <a:prstGeom prst="rect">
            <a:avLst/>
          </a:prstGeom>
          <a:solidFill>
            <a:srgbClr val="2E75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1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7176" name="TextBox 57">
            <a:extLst>
              <a:ext uri="{FF2B5EF4-FFF2-40B4-BE49-F238E27FC236}">
                <a16:creationId xmlns="" xmlns:a16="http://schemas.microsoft.com/office/drawing/2014/main" id="{9B14E7B6-3E1B-551D-22B9-5B3051D283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30397" y="3316288"/>
            <a:ext cx="1189037" cy="446087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2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7177" name="TextBox 58">
            <a:extLst>
              <a:ext uri="{FF2B5EF4-FFF2-40B4-BE49-F238E27FC236}">
                <a16:creationId xmlns="" xmlns:a16="http://schemas.microsoft.com/office/drawing/2014/main" id="{D9208072-5C95-4DEC-C831-AB0A97819F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30397" y="4021138"/>
            <a:ext cx="1189037" cy="446087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3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7178" name="TextBox 59">
            <a:extLst>
              <a:ext uri="{FF2B5EF4-FFF2-40B4-BE49-F238E27FC236}">
                <a16:creationId xmlns="" xmlns:a16="http://schemas.microsoft.com/office/drawing/2014/main" id="{2BC72A8A-E9CA-6834-E4A8-A997394787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30397" y="4716463"/>
            <a:ext cx="1189037" cy="461962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4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7179" name="TextBox 61">
            <a:extLst>
              <a:ext uri="{FF2B5EF4-FFF2-40B4-BE49-F238E27FC236}">
                <a16:creationId xmlns="" xmlns:a16="http://schemas.microsoft.com/office/drawing/2014/main" id="{BF262A1D-8FC8-AFAA-F731-A1C9D84EB1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0429" y="1647825"/>
            <a:ext cx="199866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СЫ УСЛОВИЙ ТРУДА</a:t>
            </a:r>
          </a:p>
        </p:txBody>
      </p:sp>
      <p:sp>
        <p:nvSpPr>
          <p:cNvPr id="7180" name="TextBox 67">
            <a:extLst>
              <a:ext uri="{FF2B5EF4-FFF2-40B4-BE49-F238E27FC236}">
                <a16:creationId xmlns="" xmlns:a16="http://schemas.microsoft.com/office/drawing/2014/main" id="{3B049C04-54BE-49A2-3C2F-1FB4D516CA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30397" y="5472113"/>
            <a:ext cx="1189037" cy="447675"/>
          </a:xfrm>
          <a:prstGeom prst="rect">
            <a:avLst/>
          </a:prstGeom>
          <a:solidFill>
            <a:srgbClr val="7799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5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7181" name="TextBox 81">
            <a:extLst>
              <a:ext uri="{FF2B5EF4-FFF2-40B4-BE49-F238E27FC236}">
                <a16:creationId xmlns="" xmlns:a16="http://schemas.microsoft.com/office/drawing/2014/main" id="{55C61060-45B4-07D6-DE13-FD5C810E11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7397" y="2720975"/>
            <a:ext cx="9683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устимый</a:t>
            </a:r>
          </a:p>
        </p:txBody>
      </p:sp>
      <p:sp>
        <p:nvSpPr>
          <p:cNvPr id="7183" name="TextBox 99">
            <a:extLst>
              <a:ext uri="{FF2B5EF4-FFF2-40B4-BE49-F238E27FC236}">
                <a16:creationId xmlns="" xmlns:a16="http://schemas.microsoft.com/office/drawing/2014/main" id="{5D8EEFDC-07DD-A6A3-64CF-E442341DC6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51247" y="4051300"/>
            <a:ext cx="696912" cy="369888"/>
          </a:xfrm>
          <a:prstGeom prst="rect">
            <a:avLst/>
          </a:prstGeom>
          <a:solidFill>
            <a:srgbClr val="FFD9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С</a:t>
            </a:r>
          </a:p>
        </p:txBody>
      </p:sp>
      <p:sp>
        <p:nvSpPr>
          <p:cNvPr id="7184" name="TextBox 100">
            <a:extLst>
              <a:ext uri="{FF2B5EF4-FFF2-40B4-BE49-F238E27FC236}">
                <a16:creationId xmlns="" xmlns:a16="http://schemas.microsoft.com/office/drawing/2014/main" id="{EFD08F5E-1513-667B-193F-76776126BE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51247" y="3309938"/>
            <a:ext cx="704850" cy="446087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/>
              <a:t>D</a:t>
            </a:r>
            <a:endParaRPr lang="ru-RU" altLang="ru-RU" sz="1800" b="1"/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500" b="1"/>
          </a:p>
        </p:txBody>
      </p:sp>
      <p:sp>
        <p:nvSpPr>
          <p:cNvPr id="7185" name="TextBox 101">
            <a:extLst>
              <a:ext uri="{FF2B5EF4-FFF2-40B4-BE49-F238E27FC236}">
                <a16:creationId xmlns="" xmlns:a16="http://schemas.microsoft.com/office/drawing/2014/main" id="{C47E1566-71CA-CC4F-DD71-05A2C4885C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54422" y="4743450"/>
            <a:ext cx="704850" cy="368300"/>
          </a:xfrm>
          <a:prstGeom prst="rect">
            <a:avLst/>
          </a:prstGeom>
          <a:solidFill>
            <a:srgbClr val="FF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В</a:t>
            </a:r>
          </a:p>
        </p:txBody>
      </p:sp>
      <p:sp>
        <p:nvSpPr>
          <p:cNvPr id="7186" name="TextBox 103">
            <a:extLst>
              <a:ext uri="{FF2B5EF4-FFF2-40B4-BE49-F238E27FC236}">
                <a16:creationId xmlns="" xmlns:a16="http://schemas.microsoft.com/office/drawing/2014/main" id="{B34B6E70-AB59-6377-90F3-E3C24E56CD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1722" y="5476875"/>
            <a:ext cx="704850" cy="369888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>
                <a:solidFill>
                  <a:schemeClr val="bg1"/>
                </a:solidFill>
              </a:rPr>
              <a:t>A</a:t>
            </a:r>
            <a:endParaRPr lang="ru-RU" altLang="ru-RU" sz="1800" b="1">
              <a:solidFill>
                <a:schemeClr val="bg1"/>
              </a:solidFill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="" xmlns:a16="http://schemas.microsoft.com/office/drawing/2014/main" id="{852A2341-E13F-EBCC-146B-CA6A577827EC}"/>
              </a:ext>
            </a:extLst>
          </p:cNvPr>
          <p:cNvSpPr txBox="1"/>
          <p:nvPr/>
        </p:nvSpPr>
        <p:spPr>
          <a:xfrm>
            <a:off x="8267209" y="5478463"/>
            <a:ext cx="1093788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симальная защита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="" xmlns:a16="http://schemas.microsoft.com/office/drawing/2014/main" id="{DBDE0E21-8ED2-3796-D282-66D1FC4D2419}"/>
              </a:ext>
            </a:extLst>
          </p:cNvPr>
          <p:cNvSpPr txBox="1"/>
          <p:nvPr/>
        </p:nvSpPr>
        <p:spPr>
          <a:xfrm>
            <a:off x="8241809" y="3324225"/>
            <a:ext cx="1020763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альная</a:t>
            </a:r>
          </a:p>
          <a:p>
            <a:pPr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щита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="" xmlns:a16="http://schemas.microsoft.com/office/drawing/2014/main" id="{41EC6516-EC42-5212-6676-2DF9021885E2}"/>
              </a:ext>
            </a:extLst>
          </p:cNvPr>
          <p:cNvSpPr txBox="1"/>
          <p:nvPr/>
        </p:nvSpPr>
        <p:spPr>
          <a:xfrm>
            <a:off x="8275147" y="4027488"/>
            <a:ext cx="820737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яя защита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="" xmlns:a16="http://schemas.microsoft.com/office/drawing/2014/main" id="{B8F86160-3DE5-729F-6B2C-68E195704694}"/>
              </a:ext>
            </a:extLst>
          </p:cNvPr>
          <p:cNvSpPr txBox="1"/>
          <p:nvPr/>
        </p:nvSpPr>
        <p:spPr>
          <a:xfrm>
            <a:off x="8275147" y="4737100"/>
            <a:ext cx="819150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ая защита</a:t>
            </a:r>
          </a:p>
        </p:txBody>
      </p:sp>
      <p:grpSp>
        <p:nvGrpSpPr>
          <p:cNvPr id="145" name="Группа 144">
            <a:extLst>
              <a:ext uri="{FF2B5EF4-FFF2-40B4-BE49-F238E27FC236}">
                <a16:creationId xmlns="" xmlns:a16="http://schemas.microsoft.com/office/drawing/2014/main" id="{CA0817F5-29DB-CB2A-44D3-64E6BD8AC7D7}"/>
              </a:ext>
            </a:extLst>
          </p:cNvPr>
          <p:cNvGrpSpPr/>
          <p:nvPr/>
        </p:nvGrpSpPr>
        <p:grpSpPr bwMode="auto">
          <a:xfrm rot="10800000" flipH="1">
            <a:off x="7200842" y="3686741"/>
            <a:ext cx="235937" cy="2345950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146" name="Шеврон 20">
              <a:extLst>
                <a:ext uri="{FF2B5EF4-FFF2-40B4-BE49-F238E27FC236}">
                  <a16:creationId xmlns="" xmlns:a16="http://schemas.microsoft.com/office/drawing/2014/main" id="{5D9A46E5-54DF-B8A3-8537-2A441246FDF1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47" name="Шеврон 71">
              <a:extLst>
                <a:ext uri="{FF2B5EF4-FFF2-40B4-BE49-F238E27FC236}">
                  <a16:creationId xmlns="" xmlns:a16="http://schemas.microsoft.com/office/drawing/2014/main" id="{4E892C03-DACE-2079-8C0B-D5CC586E7666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7192" name="TextBox 61">
            <a:extLst>
              <a:ext uri="{FF2B5EF4-FFF2-40B4-BE49-F238E27FC236}">
                <a16:creationId xmlns="" xmlns:a16="http://schemas.microsoft.com/office/drawing/2014/main" id="{1419B0BB-8F37-D6AB-5C2C-6253AF8A42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94641" y="628651"/>
            <a:ext cx="286226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БУДЕТ</a:t>
            </a:r>
          </a:p>
        </p:txBody>
      </p:sp>
      <p:sp>
        <p:nvSpPr>
          <p:cNvPr id="7193" name="Прямоугольник 4">
            <a:extLst>
              <a:ext uri="{FF2B5EF4-FFF2-40B4-BE49-F238E27FC236}">
                <a16:creationId xmlns="" xmlns:a16="http://schemas.microsoft.com/office/drawing/2014/main" id="{BADA6912-9B78-09CF-B761-98FFBFA3CF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429" y="947738"/>
            <a:ext cx="3668713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ru-RU" altLang="x-none" sz="1200" b="1">
                <a:latin typeface="Arial" panose="020B0604020202020204" pitchFamily="34" charset="0"/>
                <a:cs typeface="Arial" panose="020B0604020202020204" pitchFamily="34" charset="0"/>
              </a:rPr>
              <a:t>АТТЕСТАЦИЯ ПРОИЗВОДСТВЕННЫХ ОБЪЕКТОВ ПО УСЛОВИЯМ ТРУДА</a:t>
            </a:r>
          </a:p>
        </p:txBody>
      </p:sp>
      <p:sp>
        <p:nvSpPr>
          <p:cNvPr id="7194" name="TextBox 63">
            <a:extLst>
              <a:ext uri="{FF2B5EF4-FFF2-40B4-BE49-F238E27FC236}">
                <a16:creationId xmlns="" xmlns:a16="http://schemas.microsoft.com/office/drawing/2014/main" id="{EE524D5D-4CF8-5A6C-92FF-645D3EF27E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154" y="2635250"/>
            <a:ext cx="900113" cy="307975"/>
          </a:xfrm>
          <a:prstGeom prst="rect">
            <a:avLst/>
          </a:prstGeom>
          <a:solidFill>
            <a:srgbClr val="2E75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2 класс</a:t>
            </a:r>
          </a:p>
        </p:txBody>
      </p:sp>
      <p:sp>
        <p:nvSpPr>
          <p:cNvPr id="7195" name="TextBox 64">
            <a:extLst>
              <a:ext uri="{FF2B5EF4-FFF2-40B4-BE49-F238E27FC236}">
                <a16:creationId xmlns="" xmlns:a16="http://schemas.microsoft.com/office/drawing/2014/main" id="{178E484E-9710-F396-73AA-670259E754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74567" y="3311525"/>
            <a:ext cx="1265237" cy="307975"/>
          </a:xfrm>
          <a:prstGeom prst="rect">
            <a:avLst/>
          </a:prstGeom>
          <a:solidFill>
            <a:srgbClr val="5B9BD5"/>
          </a:solidFill>
          <a:ln w="9525">
            <a:solidFill>
              <a:srgbClr val="1F497D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3.1</a:t>
            </a:r>
          </a:p>
        </p:txBody>
      </p:sp>
      <p:sp>
        <p:nvSpPr>
          <p:cNvPr id="7196" name="TextBox 65">
            <a:extLst>
              <a:ext uri="{FF2B5EF4-FFF2-40B4-BE49-F238E27FC236}">
                <a16:creationId xmlns="" xmlns:a16="http://schemas.microsoft.com/office/drawing/2014/main" id="{7FF47B9A-1508-114A-6FD4-E158240040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61867" y="3995738"/>
            <a:ext cx="1274762" cy="306387"/>
          </a:xfrm>
          <a:prstGeom prst="rect">
            <a:avLst/>
          </a:prstGeom>
          <a:solidFill>
            <a:srgbClr val="5B9BD5"/>
          </a:solidFill>
          <a:ln w="9525">
            <a:solidFill>
              <a:srgbClr val="1F497D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3.2 </a:t>
            </a:r>
          </a:p>
        </p:txBody>
      </p:sp>
      <p:sp>
        <p:nvSpPr>
          <p:cNvPr id="7197" name="TextBox 70">
            <a:extLst>
              <a:ext uri="{FF2B5EF4-FFF2-40B4-BE49-F238E27FC236}">
                <a16:creationId xmlns="" xmlns:a16="http://schemas.microsoft.com/office/drawing/2014/main" id="{F08232C0-4A33-8A91-1335-FE726EE521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154" y="1970088"/>
            <a:ext cx="900113" cy="307975"/>
          </a:xfrm>
          <a:prstGeom prst="rect">
            <a:avLst/>
          </a:prstGeom>
          <a:solidFill>
            <a:srgbClr val="295E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1 класс</a:t>
            </a:r>
          </a:p>
        </p:txBody>
      </p:sp>
      <p:sp>
        <p:nvSpPr>
          <p:cNvPr id="7198" name="TextBox 71">
            <a:extLst>
              <a:ext uri="{FF2B5EF4-FFF2-40B4-BE49-F238E27FC236}">
                <a16:creationId xmlns="" xmlns:a16="http://schemas.microsoft.com/office/drawing/2014/main" id="{41EDC1D8-7A05-7110-F77A-37F1663257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8067" y="4368800"/>
            <a:ext cx="900112" cy="307975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3 класс</a:t>
            </a:r>
          </a:p>
        </p:txBody>
      </p:sp>
      <p:sp>
        <p:nvSpPr>
          <p:cNvPr id="7199" name="TextBox 10">
            <a:extLst>
              <a:ext uri="{FF2B5EF4-FFF2-40B4-BE49-F238E27FC236}">
                <a16:creationId xmlns="" xmlns:a16="http://schemas.microsoft.com/office/drawing/2014/main" id="{9A38AFD9-2E55-7174-7129-112C1F7E81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2992" y="2259013"/>
            <a:ext cx="101282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альные</a:t>
            </a:r>
          </a:p>
        </p:txBody>
      </p:sp>
      <p:sp>
        <p:nvSpPr>
          <p:cNvPr id="7200" name="TextBox 78">
            <a:extLst>
              <a:ext uri="{FF2B5EF4-FFF2-40B4-BE49-F238E27FC236}">
                <a16:creationId xmlns="" xmlns:a16="http://schemas.microsoft.com/office/drawing/2014/main" id="{1C3BDF51-EE6E-593A-8764-B55E5C5ADC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517" y="2979738"/>
            <a:ext cx="96678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устимые</a:t>
            </a:r>
          </a:p>
        </p:txBody>
      </p:sp>
      <p:sp>
        <p:nvSpPr>
          <p:cNvPr id="167" name="Прямоугольник 166">
            <a:extLst>
              <a:ext uri="{FF2B5EF4-FFF2-40B4-BE49-F238E27FC236}">
                <a16:creationId xmlns="" xmlns:a16="http://schemas.microsoft.com/office/drawing/2014/main" id="{18F81A5A-0ABF-A8B5-CD6A-7C326A1057C5}"/>
              </a:ext>
            </a:extLst>
          </p:cNvPr>
          <p:cNvSpPr/>
          <p:nvPr/>
        </p:nvSpPr>
        <p:spPr>
          <a:xfrm>
            <a:off x="1661867" y="4281488"/>
            <a:ext cx="1274762" cy="20002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700" dirty="0" err="1">
                <a:latin typeface="Arial" panose="020B0604020202020204" pitchFamily="34" charset="0"/>
                <a:cs typeface="Arial" panose="020B0604020202020204" pitchFamily="34" charset="0"/>
              </a:rPr>
              <a:t>нач.формы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dirty="0" err="1">
                <a:latin typeface="Arial" panose="020B0604020202020204" pitchFamily="34" charset="0"/>
                <a:cs typeface="Arial" panose="020B0604020202020204" pitchFamily="34" charset="0"/>
              </a:rPr>
              <a:t>профзабол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68" name="Прямоугольник 167">
            <a:extLst>
              <a:ext uri="{FF2B5EF4-FFF2-40B4-BE49-F238E27FC236}">
                <a16:creationId xmlns="" xmlns:a16="http://schemas.microsoft.com/office/drawing/2014/main" id="{0FE25345-2509-8FE0-CBA6-DD7E74BC7390}"/>
              </a:ext>
            </a:extLst>
          </p:cNvPr>
          <p:cNvSpPr/>
          <p:nvPr/>
        </p:nvSpPr>
        <p:spPr>
          <a:xfrm>
            <a:off x="1671392" y="4870450"/>
            <a:ext cx="1262062" cy="3079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легкие и средние </a:t>
            </a:r>
            <a:r>
              <a:rPr lang="ru-RU" sz="700" dirty="0" err="1">
                <a:latin typeface="Arial" panose="020B0604020202020204" pitchFamily="34" charset="0"/>
                <a:cs typeface="Arial" panose="020B0604020202020204" pitchFamily="34" charset="0"/>
              </a:rPr>
              <a:t>профзабол</a:t>
            </a:r>
            <a:endParaRPr lang="ru-RU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03" name="TextBox 66">
            <a:extLst>
              <a:ext uri="{FF2B5EF4-FFF2-40B4-BE49-F238E27FC236}">
                <a16:creationId xmlns="" xmlns:a16="http://schemas.microsoft.com/office/drawing/2014/main" id="{E79206E7-D8CE-91BD-471A-CB1E2BFE66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63454" y="4579938"/>
            <a:ext cx="1273175" cy="307975"/>
          </a:xfrm>
          <a:prstGeom prst="rect">
            <a:avLst/>
          </a:prstGeom>
          <a:solidFill>
            <a:srgbClr val="5B9BD5"/>
          </a:solidFill>
          <a:ln w="9525">
            <a:solidFill>
              <a:srgbClr val="1F497D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3.3</a:t>
            </a:r>
          </a:p>
        </p:txBody>
      </p:sp>
      <p:sp>
        <p:nvSpPr>
          <p:cNvPr id="172" name="Прямоугольник 171">
            <a:extLst>
              <a:ext uri="{FF2B5EF4-FFF2-40B4-BE49-F238E27FC236}">
                <a16:creationId xmlns="" xmlns:a16="http://schemas.microsoft.com/office/drawing/2014/main" id="{2BD27B45-D037-5347-34D2-416EB98AB0D4}"/>
              </a:ext>
            </a:extLst>
          </p:cNvPr>
          <p:cNvSpPr/>
          <p:nvPr/>
        </p:nvSpPr>
        <p:spPr>
          <a:xfrm>
            <a:off x="1671392" y="3617913"/>
            <a:ext cx="1265237" cy="3079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обратимые </a:t>
            </a:r>
            <a:r>
              <a:rPr lang="ru-RU" sz="700" dirty="0" err="1">
                <a:latin typeface="Arial" panose="020B0604020202020204" pitchFamily="34" charset="0"/>
                <a:cs typeface="Arial" panose="020B0604020202020204" pitchFamily="34" charset="0"/>
              </a:rPr>
              <a:t>функц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. изменения </a:t>
            </a:r>
          </a:p>
        </p:txBody>
      </p:sp>
      <p:sp>
        <p:nvSpPr>
          <p:cNvPr id="173" name="Прямоугольник 172">
            <a:extLst>
              <a:ext uri="{FF2B5EF4-FFF2-40B4-BE49-F238E27FC236}">
                <a16:creationId xmlns="" xmlns:a16="http://schemas.microsoft.com/office/drawing/2014/main" id="{905D27E2-09CC-DEDE-3E5B-23BB3CAE9FA7}"/>
              </a:ext>
            </a:extLst>
          </p:cNvPr>
          <p:cNvSpPr/>
          <p:nvPr/>
        </p:nvSpPr>
        <p:spPr>
          <a:xfrm>
            <a:off x="1663454" y="5588000"/>
            <a:ext cx="1273175" cy="20002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тяжелые </a:t>
            </a:r>
            <a:r>
              <a:rPr lang="ru-RU" sz="700" dirty="0" err="1">
                <a:latin typeface="Arial" panose="020B0604020202020204" pitchFamily="34" charset="0"/>
                <a:cs typeface="Arial" panose="020B0604020202020204" pitchFamily="34" charset="0"/>
              </a:rPr>
              <a:t>профзабол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7206" name="TextBox 66">
            <a:extLst>
              <a:ext uri="{FF2B5EF4-FFF2-40B4-BE49-F238E27FC236}">
                <a16:creationId xmlns="" xmlns:a16="http://schemas.microsoft.com/office/drawing/2014/main" id="{37BD57B9-0F8F-E693-A442-6BE559E644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63454" y="5276850"/>
            <a:ext cx="1273175" cy="307975"/>
          </a:xfrm>
          <a:prstGeom prst="rect">
            <a:avLst/>
          </a:prstGeom>
          <a:solidFill>
            <a:srgbClr val="5B9BD5"/>
          </a:solidFill>
          <a:ln w="9525">
            <a:solidFill>
              <a:srgbClr val="1F497D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3.4</a:t>
            </a:r>
          </a:p>
        </p:txBody>
      </p:sp>
      <p:sp>
        <p:nvSpPr>
          <p:cNvPr id="7207" name="TextBox 69">
            <a:extLst>
              <a:ext uri="{FF2B5EF4-FFF2-40B4-BE49-F238E27FC236}">
                <a16:creationId xmlns="" xmlns:a16="http://schemas.microsoft.com/office/drawing/2014/main" id="{4839714C-6E6C-89B8-D00F-EE130BC7EF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2354" y="5948363"/>
            <a:ext cx="900113" cy="307975"/>
          </a:xfrm>
          <a:prstGeom prst="rect">
            <a:avLst/>
          </a:prstGeom>
          <a:solidFill>
            <a:srgbClr val="7799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4 класс</a:t>
            </a:r>
          </a:p>
        </p:txBody>
      </p:sp>
      <p:sp>
        <p:nvSpPr>
          <p:cNvPr id="7208" name="TextBox 80">
            <a:extLst>
              <a:ext uri="{FF2B5EF4-FFF2-40B4-BE49-F238E27FC236}">
                <a16:creationId xmlns="" xmlns:a16="http://schemas.microsoft.com/office/drawing/2014/main" id="{70CE9669-4338-B6CF-316E-823D3B53FA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2992" y="6202363"/>
            <a:ext cx="85883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асные</a:t>
            </a:r>
          </a:p>
        </p:txBody>
      </p:sp>
      <p:sp>
        <p:nvSpPr>
          <p:cNvPr id="7209" name="TextBox 79">
            <a:extLst>
              <a:ext uri="{FF2B5EF4-FFF2-40B4-BE49-F238E27FC236}">
                <a16:creationId xmlns="" xmlns:a16="http://schemas.microsoft.com/office/drawing/2014/main" id="{5FE876DF-C50D-040B-3A9D-4784B0E061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8067" y="4695825"/>
            <a:ext cx="96678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едные</a:t>
            </a:r>
          </a:p>
        </p:txBody>
      </p:sp>
      <p:sp>
        <p:nvSpPr>
          <p:cNvPr id="7210" name="TextBox 61">
            <a:extLst>
              <a:ext uri="{FF2B5EF4-FFF2-40B4-BE49-F238E27FC236}">
                <a16:creationId xmlns="" xmlns:a16="http://schemas.microsoft.com/office/drawing/2014/main" id="{B75A8267-BE69-4384-3329-489C6E8A5E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58827" y="1863725"/>
            <a:ext cx="2360791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рабочем месте устанавливаются безопасные или вредные и/или опасные условия труда</a:t>
            </a:r>
          </a:p>
        </p:txBody>
      </p:sp>
      <p:sp>
        <p:nvSpPr>
          <p:cNvPr id="7211" name="TextBox 82">
            <a:extLst>
              <a:ext uri="{FF2B5EF4-FFF2-40B4-BE49-F238E27FC236}">
                <a16:creationId xmlns="" xmlns:a16="http://schemas.microsoft.com/office/drawing/2014/main" id="{97971D35-82AD-A51B-024D-DDE5C92B9B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8847" y="3741738"/>
            <a:ext cx="59213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</a:t>
            </a:r>
          </a:p>
        </p:txBody>
      </p:sp>
      <p:sp>
        <p:nvSpPr>
          <p:cNvPr id="7212" name="TextBox 83">
            <a:extLst>
              <a:ext uri="{FF2B5EF4-FFF2-40B4-BE49-F238E27FC236}">
                <a16:creationId xmlns="" xmlns:a16="http://schemas.microsoft.com/office/drawing/2014/main" id="{3234DCAE-B5C9-7061-F555-143A57331A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74872" y="4429125"/>
            <a:ext cx="7239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</a:t>
            </a:r>
          </a:p>
        </p:txBody>
      </p:sp>
      <p:sp>
        <p:nvSpPr>
          <p:cNvPr id="7213" name="TextBox 84">
            <a:extLst>
              <a:ext uri="{FF2B5EF4-FFF2-40B4-BE49-F238E27FC236}">
                <a16:creationId xmlns="" xmlns:a16="http://schemas.microsoft.com/office/drawing/2014/main" id="{508BAD13-6BED-261A-026C-83A443E18B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2809" y="5159375"/>
            <a:ext cx="7143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</a:t>
            </a:r>
          </a:p>
        </p:txBody>
      </p:sp>
      <p:sp>
        <p:nvSpPr>
          <p:cNvPr id="7214" name="TextBox 85">
            <a:extLst>
              <a:ext uri="{FF2B5EF4-FFF2-40B4-BE49-F238E27FC236}">
                <a16:creationId xmlns="" xmlns:a16="http://schemas.microsoft.com/office/drawing/2014/main" id="{1F7774BC-4A40-883B-DB2C-782C2F5EBE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11347" y="5919788"/>
            <a:ext cx="117316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чень высокий</a:t>
            </a:r>
          </a:p>
        </p:txBody>
      </p:sp>
      <p:sp>
        <p:nvSpPr>
          <p:cNvPr id="7215" name="Прямоугольник 183">
            <a:extLst>
              <a:ext uri="{FF2B5EF4-FFF2-40B4-BE49-F238E27FC236}">
                <a16:creationId xmlns="" xmlns:a16="http://schemas.microsoft.com/office/drawing/2014/main" id="{03F3CCCF-40CD-81FC-1E33-02FE5DA495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6559" y="950913"/>
            <a:ext cx="3322638" cy="414337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x-none" sz="1050" b="1" dirty="0">
                <a:latin typeface="Arial" panose="020B0604020202020204" pitchFamily="34" charset="0"/>
                <a:cs typeface="Arial" panose="020B0604020202020204" pitchFamily="34" charset="0"/>
              </a:rPr>
              <a:t>ОЦЕНКА 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x-none" sz="1050" b="1" dirty="0">
                <a:latin typeface="Arial" panose="020B0604020202020204" pitchFamily="34" charset="0"/>
                <a:cs typeface="Arial" panose="020B0604020202020204" pitchFamily="34" charset="0"/>
              </a:rPr>
              <a:t>ПРОФЕССИОНАЛЬНОГО </a:t>
            </a:r>
            <a:r>
              <a:rPr lang="ru-RU" altLang="x-none" sz="105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ИСКА</a:t>
            </a:r>
            <a:endParaRPr lang="ru-RU" altLang="x-none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16" name="TextBox 61">
            <a:extLst>
              <a:ext uri="{FF2B5EF4-FFF2-40B4-BE49-F238E27FC236}">
                <a16:creationId xmlns="" xmlns:a16="http://schemas.microsoft.com/office/drawing/2014/main" id="{27A4975D-54FC-BE3F-C6EB-6E2FEEE58B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98611" y="1670025"/>
            <a:ext cx="1595582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епень профессионального риска</a:t>
            </a:r>
          </a:p>
        </p:txBody>
      </p:sp>
      <p:sp>
        <p:nvSpPr>
          <p:cNvPr id="7217" name="TextBox 61">
            <a:extLst>
              <a:ext uri="{FF2B5EF4-FFF2-40B4-BE49-F238E27FC236}">
                <a16:creationId xmlns="" xmlns:a16="http://schemas.microsoft.com/office/drawing/2014/main" id="{E4EFCDC9-5D30-B401-F78B-08158AF446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59388" y="1592166"/>
            <a:ext cx="1888939" cy="1061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фференциация рабочего места по степени профессионального риска и уровню защиты работника</a:t>
            </a:r>
          </a:p>
        </p:txBody>
      </p:sp>
      <p:cxnSp>
        <p:nvCxnSpPr>
          <p:cNvPr id="22" name="Прямая со стрелкой 21">
            <a:extLst>
              <a:ext uri="{FF2B5EF4-FFF2-40B4-BE49-F238E27FC236}">
                <a16:creationId xmlns="" xmlns:a16="http://schemas.microsoft.com/office/drawing/2014/main" id="{2DDA5B70-179C-8D8D-6D69-428F258FBB46}"/>
              </a:ext>
            </a:extLst>
          </p:cNvPr>
          <p:cNvCxnSpPr>
            <a:cxnSpLocks/>
          </p:cNvCxnSpPr>
          <p:nvPr/>
        </p:nvCxnSpPr>
        <p:spPr>
          <a:xfrm flipV="1">
            <a:off x="3081092" y="3584575"/>
            <a:ext cx="2571750" cy="4763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Прямая со стрелкой 194">
            <a:extLst>
              <a:ext uri="{FF2B5EF4-FFF2-40B4-BE49-F238E27FC236}">
                <a16:creationId xmlns="" xmlns:a16="http://schemas.microsoft.com/office/drawing/2014/main" id="{E99BA486-AF51-1720-8285-5750D41C913D}"/>
              </a:ext>
            </a:extLst>
          </p:cNvPr>
          <p:cNvCxnSpPr/>
          <p:nvPr/>
        </p:nvCxnSpPr>
        <p:spPr>
          <a:xfrm flipV="1">
            <a:off x="3084267" y="4232275"/>
            <a:ext cx="2571750" cy="4763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Прямая со стрелкой 195">
            <a:extLst>
              <a:ext uri="{FF2B5EF4-FFF2-40B4-BE49-F238E27FC236}">
                <a16:creationId xmlns="" xmlns:a16="http://schemas.microsoft.com/office/drawing/2014/main" id="{2933DB66-80D5-CDD4-2551-48BCC56C787A}"/>
              </a:ext>
            </a:extLst>
          </p:cNvPr>
          <p:cNvCxnSpPr/>
          <p:nvPr/>
        </p:nvCxnSpPr>
        <p:spPr>
          <a:xfrm flipV="1">
            <a:off x="3101729" y="4879975"/>
            <a:ext cx="2571750" cy="4763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Прямая со стрелкой 196">
            <a:extLst>
              <a:ext uri="{FF2B5EF4-FFF2-40B4-BE49-F238E27FC236}">
                <a16:creationId xmlns="" xmlns:a16="http://schemas.microsoft.com/office/drawing/2014/main" id="{413299D5-BD6B-6A65-0259-FC80F765A5E3}"/>
              </a:ext>
            </a:extLst>
          </p:cNvPr>
          <p:cNvCxnSpPr/>
          <p:nvPr/>
        </p:nvCxnSpPr>
        <p:spPr>
          <a:xfrm flipV="1">
            <a:off x="3104904" y="5586413"/>
            <a:ext cx="2571750" cy="4762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Прямая со стрелкой 197">
            <a:extLst>
              <a:ext uri="{FF2B5EF4-FFF2-40B4-BE49-F238E27FC236}">
                <a16:creationId xmlns=""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V="1">
            <a:off x="3003304" y="2606675"/>
            <a:ext cx="2571750" cy="4763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FAE8B1D8-6D30-FEAD-A561-954F869902AC}"/>
              </a:ext>
            </a:extLst>
          </p:cNvPr>
          <p:cNvSpPr/>
          <p:nvPr/>
        </p:nvSpPr>
        <p:spPr>
          <a:xfrm>
            <a:off x="388692" y="1883741"/>
            <a:ext cx="2541587" cy="1326184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228" name="TextBox 10">
            <a:extLst>
              <a:ext uri="{FF2B5EF4-FFF2-40B4-BE49-F238E27FC236}">
                <a16:creationId xmlns="" xmlns:a16="http://schemas.microsoft.com/office/drawing/2014/main" id="{800101B9-3A71-7B90-2AE9-B578EAD6E4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7454" y="2382838"/>
            <a:ext cx="101282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опасные</a:t>
            </a:r>
          </a:p>
        </p:txBody>
      </p:sp>
      <p:cxnSp>
        <p:nvCxnSpPr>
          <p:cNvPr id="32" name="Соединительная линия уступом 31">
            <a:extLst>
              <a:ext uri="{FF2B5EF4-FFF2-40B4-BE49-F238E27FC236}">
                <a16:creationId xmlns="" xmlns:a16="http://schemas.microsoft.com/office/drawing/2014/main" id="{1DF30838-F751-3967-E90E-04A6DE123CF7}"/>
              </a:ext>
            </a:extLst>
          </p:cNvPr>
          <p:cNvCxnSpPr>
            <a:cxnSpLocks/>
          </p:cNvCxnSpPr>
          <p:nvPr/>
        </p:nvCxnSpPr>
        <p:spPr>
          <a:xfrm flipV="1">
            <a:off x="3081092" y="5591175"/>
            <a:ext cx="1204912" cy="531813"/>
          </a:xfrm>
          <a:prstGeom prst="bentConnector3">
            <a:avLst>
              <a:gd name="adj1" fmla="val 50000"/>
            </a:avLst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: скругленные углы 1">
            <a:extLst>
              <a:ext uri="{FF2B5EF4-FFF2-40B4-BE49-F238E27FC236}">
                <a16:creationId xmlns="" xmlns:a16="http://schemas.microsoft.com/office/drawing/2014/main" id="{FE0B654B-0C0C-425A-90CC-079AAC68D1D5}"/>
              </a:ext>
            </a:extLst>
          </p:cNvPr>
          <p:cNvSpPr/>
          <p:nvPr/>
        </p:nvSpPr>
        <p:spPr>
          <a:xfrm>
            <a:off x="5314460" y="885825"/>
            <a:ext cx="4333868" cy="5592763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" name="Левая фигурная скобка 6">
            <a:extLst>
              <a:ext uri="{FF2B5EF4-FFF2-40B4-BE49-F238E27FC236}">
                <a16:creationId xmlns="" xmlns:a16="http://schemas.microsoft.com/office/drawing/2014/main" id="{340E394F-B6FC-09D3-E801-3BF1B0E754AC}"/>
              </a:ext>
            </a:extLst>
          </p:cNvPr>
          <p:cNvSpPr/>
          <p:nvPr/>
        </p:nvSpPr>
        <p:spPr>
          <a:xfrm>
            <a:off x="1417392" y="3267075"/>
            <a:ext cx="217487" cy="2579688"/>
          </a:xfrm>
          <a:prstGeom prst="leftBrac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x-none"/>
          </a:p>
        </p:txBody>
      </p:sp>
      <p:sp>
        <p:nvSpPr>
          <p:cNvPr id="177" name="Прямоугольник 176">
            <a:extLst>
              <a:ext uri="{FF2B5EF4-FFF2-40B4-BE49-F238E27FC236}">
                <a16:creationId xmlns="" xmlns:a16="http://schemas.microsoft.com/office/drawing/2014/main" id="{E6F862DF-244E-66D6-A511-55EE6A52C8CD}"/>
              </a:ext>
            </a:extLst>
          </p:cNvPr>
          <p:cNvSpPr/>
          <p:nvPr/>
        </p:nvSpPr>
        <p:spPr>
          <a:xfrm>
            <a:off x="1658692" y="5969000"/>
            <a:ext cx="1271587" cy="3079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Травмы и острые заболевания</a:t>
            </a:r>
          </a:p>
        </p:txBody>
      </p:sp>
      <p:sp>
        <p:nvSpPr>
          <p:cNvPr id="67" name="TextBox 33"/>
          <p:cNvSpPr txBox="1">
            <a:spLocks noChangeArrowheads="1"/>
          </p:cNvSpPr>
          <p:nvPr/>
        </p:nvSpPr>
        <p:spPr bwMode="auto">
          <a:xfrm>
            <a:off x="11401425" y="212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alt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876549" y="1531124"/>
            <a:ext cx="220970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rgbClr val="7030A0"/>
                </a:solidFill>
              </a:rPr>
              <a:t>HAZARDOUS MATERIALS </a:t>
            </a:r>
          </a:p>
          <a:p>
            <a:pPr algn="ctr"/>
            <a:r>
              <a:rPr lang="ru-RU" sz="1200" dirty="0" smtClean="0"/>
              <a:t>Обзор </a:t>
            </a:r>
            <a:r>
              <a:rPr lang="ru-RU" sz="1200" dirty="0"/>
              <a:t>уровней защиты </a:t>
            </a:r>
            <a:r>
              <a:rPr lang="ru-RU" sz="1200" dirty="0" smtClean="0"/>
              <a:t>HAZMAT</a:t>
            </a:r>
          </a:p>
          <a:p>
            <a:pPr algn="ctr"/>
            <a:r>
              <a:rPr lang="ru-RU" sz="1200" dirty="0" smtClean="0"/>
              <a:t>Существует </a:t>
            </a:r>
            <a:r>
              <a:rPr lang="ru-RU" sz="1200" dirty="0"/>
              <a:t>4 уровня защиты и соответствующее защитное оборудование, установленное Управлением по безопасности и гигиене труда (OSHA) для рабочих, работающих с опасными материалами (</a:t>
            </a:r>
            <a:r>
              <a:rPr lang="ru-RU" sz="1200" dirty="0" smtClean="0"/>
              <a:t>HAZMAT)</a:t>
            </a:r>
          </a:p>
          <a:p>
            <a:pPr algn="ctr"/>
            <a:r>
              <a:rPr lang="ru-RU" sz="1200" dirty="0" smtClean="0"/>
              <a:t>Уровень </a:t>
            </a:r>
            <a:r>
              <a:rPr lang="ru-RU" sz="1200" dirty="0"/>
              <a:t>защиты назначается на основе встречающихся опасных веществ и должен адекватно защищать работника от любой биологической, физической или химической опасности</a:t>
            </a:r>
            <a:r>
              <a:rPr lang="ru-RU" sz="1200" dirty="0" smtClean="0"/>
              <a:t>.</a:t>
            </a:r>
          </a:p>
        </p:txBody>
      </p:sp>
      <p:sp>
        <p:nvSpPr>
          <p:cNvPr id="65" name="Прямоугольник: скругленные углы 2">
            <a:extLst>
              <a:ext uri="{FF2B5EF4-FFF2-40B4-BE49-F238E27FC236}">
                <a16:creationId xmlns=""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9749453" y="1556038"/>
            <a:ext cx="2422774" cy="3720811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DFBD3860-2D59-B28A-E50E-47D685892230}"/>
              </a:ext>
            </a:extLst>
          </p:cNvPr>
          <p:cNvSpPr txBox="1"/>
          <p:nvPr/>
        </p:nvSpPr>
        <p:spPr>
          <a:xfrm>
            <a:off x="9748843" y="5039848"/>
            <a:ext cx="2434966" cy="280986"/>
          </a:xfrm>
          <a:prstGeom prst="rect">
            <a:avLst/>
          </a:prstGeom>
          <a:solidFill>
            <a:srgbClr val="7371B3"/>
          </a:solidFill>
          <a:ln>
            <a:solidFill>
              <a:srgbClr val="C9CBE7"/>
            </a:solidFill>
          </a:ln>
        </p:spPr>
        <p:txBody>
          <a:bodyPr wrap="square" rtlCol="0">
            <a:spAutoFit/>
          </a:bodyPr>
          <a:lstStyle/>
          <a:p>
            <a:pPr lvl="0" algn="ctr"/>
            <a:endParaRPr lang="ru-RU" sz="1400" b="1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46228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extBox 33">
            <a:extLst>
              <a:ext uri="{FF2B5EF4-FFF2-40B4-BE49-F238E27FC236}">
                <a16:creationId xmlns="" xmlns:a16="http://schemas.microsoft.com/office/drawing/2014/main" id="{CE1A26EE-8825-7AA0-B663-2D07F3A804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11841" y="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b="1" noProof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kumimoji="0" lang="ru-RU" altLang="ru-RU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68EBB90E-3D4C-6CD2-7477-401B0D61270D}"/>
              </a:ext>
            </a:extLst>
          </p:cNvPr>
          <p:cNvSpPr txBox="1"/>
          <p:nvPr/>
        </p:nvSpPr>
        <p:spPr>
          <a:xfrm>
            <a:off x="-249000" y="809669"/>
            <a:ext cx="11275031" cy="369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РУППЫ ФАКТОРОВ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691334" y="1423196"/>
            <a:ext cx="1760745" cy="523221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ХИМИЧЕСКОЙ ПРИРОДЫ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977592" y="1410911"/>
            <a:ext cx="1760743" cy="523221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ЕХАНИЧЕСКОЙ ПРИРОДЫ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9100430" y="1410911"/>
            <a:ext cx="2775047" cy="523220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БЩИЕ ПРОИЗВОДСТВЕННЫЕ ЗАГРЯЗНЕНИЯ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54380" y="1410907"/>
            <a:ext cx="1811122" cy="523221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ФИЗИЧЕСКОЙ ПРИРОДЫ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777905" y="1410912"/>
            <a:ext cx="1860331" cy="523221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БИОЛОГИЧЕСКОЙ ПРИРОДЫ</a:t>
            </a:r>
          </a:p>
        </p:txBody>
      </p:sp>
      <p:cxnSp>
        <p:nvCxnSpPr>
          <p:cNvPr id="21" name="Соединительная линия уступом 20"/>
          <p:cNvCxnSpPr>
            <a:stCxn id="24" idx="0"/>
            <a:endCxn id="23" idx="0"/>
          </p:cNvCxnSpPr>
          <p:nvPr/>
        </p:nvCxnSpPr>
        <p:spPr>
          <a:xfrm rot="16200000" flipH="1">
            <a:off x="5973945" y="-3103097"/>
            <a:ext cx="4" cy="9028013"/>
          </a:xfrm>
          <a:prstGeom prst="bentConnector3">
            <a:avLst>
              <a:gd name="adj1" fmla="val -5715000000"/>
            </a:avLst>
          </a:prstGeom>
          <a:ln>
            <a:solidFill>
              <a:srgbClr val="7371B3"/>
            </a:solidFill>
            <a:headEnd type="triangle"/>
            <a:tailEnd type="triangle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28" name="Прямая со стрелкой 27"/>
          <p:cNvCxnSpPr/>
          <p:nvPr/>
        </p:nvCxnSpPr>
        <p:spPr>
          <a:xfrm>
            <a:off x="3585226" y="1180514"/>
            <a:ext cx="2" cy="230397"/>
          </a:xfrm>
          <a:prstGeom prst="straightConnector1">
            <a:avLst/>
          </a:prstGeom>
          <a:ln w="9525">
            <a:solidFill>
              <a:srgbClr val="7371B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381000" y="2091285"/>
            <a:ext cx="6096000" cy="490390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1 ПРОИЗВОДСТВЕННЫЕ ФАКТОРЫ ФИЗИЧЕСКОЙ ПРИРОД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01.1 Виброакустические фактор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01.1.1 Производственный шу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1.1.1 Шум постоянный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1.1.2 Шум импульсный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01.1.2 Вибраци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1.2.1 Вибрация обща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1.2.2 Вибрация локальна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01.1.3 Инфразвук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01.1.4 Ультразвук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01.2 Излучени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01.2.1 Оптические (неионизирующие излучения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2.1.1 Светово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2.1.2 Инфракрасное излучени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2.1.3 Ультрафиолетовое излучени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2.1.4 Лазерное излучени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01.2.2 Ионизирующие излучени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2.2.1 Альфа – излучени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2.2.2 Бета – излучени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2.2.3 Гамма - излучение (экспозиционное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2.2.4 Рентгеновское излучени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2.2.5 Электрически заряженные частицы воздуха – аэроионы</a:t>
            </a:r>
          </a:p>
        </p:txBody>
      </p:sp>
      <p:cxnSp>
        <p:nvCxnSpPr>
          <p:cNvPr id="36" name="Прямая со стрелкой 35"/>
          <p:cNvCxnSpPr/>
          <p:nvPr/>
        </p:nvCxnSpPr>
        <p:spPr>
          <a:xfrm>
            <a:off x="5708064" y="1180514"/>
            <a:ext cx="2" cy="230397"/>
          </a:xfrm>
          <a:prstGeom prst="straightConnector1">
            <a:avLst/>
          </a:prstGeom>
          <a:ln w="9525">
            <a:solidFill>
              <a:srgbClr val="7371B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>
            <a:off x="7857957" y="1179000"/>
            <a:ext cx="2" cy="230397"/>
          </a:xfrm>
          <a:prstGeom prst="straightConnector1">
            <a:avLst/>
          </a:prstGeom>
          <a:ln w="9525">
            <a:solidFill>
              <a:srgbClr val="7371B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/>
          <p:cNvSpPr/>
          <p:nvPr/>
        </p:nvSpPr>
        <p:spPr>
          <a:xfrm>
            <a:off x="96420" y="109107"/>
            <a:ext cx="112232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сификация производственных факторов для оценки профессионального риска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4858070" y="3069000"/>
            <a:ext cx="663793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</a:rPr>
              <a:t>Дифференциация рабочего места по степеням профессиональных рисков производиться на основании </a:t>
            </a:r>
            <a:r>
              <a:rPr lang="ru-RU" sz="1400" b="1" u="sng" dirty="0">
                <a:solidFill>
                  <a:srgbClr val="002060"/>
                </a:solidFill>
                <a:latin typeface="Century Gothic" panose="020B0502020202020204" pitchFamily="34" charset="0"/>
              </a:rPr>
              <a:t>83 наименований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</a:rPr>
              <a:t>вредных и опасных производственных факторов 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по </a:t>
            </a:r>
            <a:r>
              <a:rPr lang="ru-RU" sz="1400" b="1" u="sng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6 основным группам 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согласно </a:t>
            </a: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Классификатору</a:t>
            </a:r>
            <a:endParaRPr kumimoji="0" lang="ru-RU" sz="1400" b="0" i="0" u="sng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602398" y="2052257"/>
            <a:ext cx="2573595" cy="52322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СИХОФИЗЕОЛОГИЧЕСКИОЙ</a:t>
            </a:r>
            <a:r>
              <a:rPr kumimoji="0" lang="ru-RU" sz="14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ПРИРОДЫ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3" name="Прямая со стрелкой 32"/>
          <p:cNvCxnSpPr/>
          <p:nvPr/>
        </p:nvCxnSpPr>
        <p:spPr>
          <a:xfrm>
            <a:off x="8889196" y="1178999"/>
            <a:ext cx="2" cy="864000"/>
          </a:xfrm>
          <a:prstGeom prst="straightConnector1">
            <a:avLst/>
          </a:prstGeom>
          <a:ln w="9525">
            <a:solidFill>
              <a:srgbClr val="7371B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="" xmlns:a16="http://schemas.microsoft.com/office/drawing/2014/main" id="{69CE0D03-021E-1AE6-D55E-2BCA59863ACD}"/>
              </a:ext>
            </a:extLst>
          </p:cNvPr>
          <p:cNvCxnSpPr>
            <a:cxnSpLocks/>
          </p:cNvCxnSpPr>
          <p:nvPr/>
        </p:nvCxnSpPr>
        <p:spPr>
          <a:xfrm>
            <a:off x="339159" y="681647"/>
            <a:ext cx="111045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8258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2C1109B7-42A2-B84D-EC10-B7AEC007E4A4}"/>
              </a:ext>
            </a:extLst>
          </p:cNvPr>
          <p:cNvSpPr txBox="1"/>
          <p:nvPr/>
        </p:nvSpPr>
        <p:spPr>
          <a:xfrm>
            <a:off x="234821" y="143390"/>
            <a:ext cx="11828977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ассификация сиз в зависимости от частей тела, подлежащих к защите</a:t>
            </a:r>
            <a:r>
              <a:rPr lang="ru-RU" spc="-1" dirty="0" smtClean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itchFamily="34" charset="0"/>
              </a:rPr>
              <a:t>*</a:t>
            </a:r>
            <a:endParaRPr lang="ru-RU" sz="1400" dirty="0">
              <a:solidFill>
                <a:srgbClr val="1F497D"/>
              </a:solidFill>
            </a:endParaRPr>
          </a:p>
          <a:p>
            <a:pPr>
              <a:defRPr/>
            </a:pPr>
            <a:r>
              <a:rPr lang="ru-RU" sz="2000" spc="-1" dirty="0">
                <a:solidFill>
                  <a:srgbClr val="002060"/>
                </a:solidFill>
                <a:uFill>
                  <a:solidFill>
                    <a:srgbClr val="FFFFFF"/>
                  </a:solidFill>
                </a:uFill>
                <a:latin typeface="Bahnschrift" panose="020B0502040204020203" pitchFamily="34" charset="0"/>
                <a:cs typeface="Arial" pitchFamily="34" charset="0"/>
              </a:rPr>
              <a:t> </a:t>
            </a:r>
            <a:endParaRPr lang="ru-RU" sz="1600" spc="-1" dirty="0">
              <a:solidFill>
                <a:srgbClr val="002060"/>
              </a:solidFill>
              <a:uFill>
                <a:solidFill>
                  <a:srgbClr val="FFFFFF"/>
                </a:solidFill>
              </a:uFill>
              <a:latin typeface="Bahnschrift" panose="020B0502040204020203" pitchFamily="34" charset="0"/>
              <a:cs typeface="Arial" pitchFamily="34" charset="0"/>
            </a:endParaRPr>
          </a:p>
        </p:txBody>
      </p:sp>
      <p:sp>
        <p:nvSpPr>
          <p:cNvPr id="74" name="TextBox 33">
            <a:extLst>
              <a:ext uri="{FF2B5EF4-FFF2-40B4-BE49-F238E27FC236}">
                <a16:creationId xmlns="" xmlns:a16="http://schemas.microsoft.com/office/drawing/2014/main" id="{CE1A26EE-8825-7AA0-B663-2D07F3A804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11841" y="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234818" y="4889523"/>
                <a:ext cx="5321467" cy="9600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af-ZA" sz="1100" b="1" i="1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100" b="1" i="1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𝑰</m:t>
                        </m:r>
                      </m:e>
                      <m:sup>
                        <m:r>
                          <a:rPr lang="ru-RU" sz="1100" b="1" i="1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𝟏</m:t>
                        </m:r>
                      </m:sup>
                    </m:sSup>
                  </m:oMath>
                </a14:m>
                <a:r>
                  <a:rPr lang="ru-RU" sz="1100" b="1" dirty="0">
                    <a:solidFill>
                      <a:schemeClr val="accent3">
                        <a:lumMod val="50000"/>
                      </a:schemeClr>
                    </a:solidFill>
                  </a:rPr>
                  <a:t> - защита головы </a:t>
                </a:r>
                <a:r>
                  <a:rPr lang="ru-RU" sz="1100" dirty="0">
                    <a:solidFill>
                      <a:schemeClr val="accent3">
                        <a:lumMod val="50000"/>
                      </a:schemeClr>
                    </a:solidFill>
                  </a:rPr>
                  <a:t>(каска защитная, шапка, берет, шляпа, колпак, косынка и т. п.); </a:t>
                </a:r>
              </a:p>
              <a:p>
                <a14:m>
                  <m:oMath xmlns:m="http://schemas.openxmlformats.org/officeDocument/2006/math">
                    <m:sSup>
                      <m:sSupPr>
                        <m:ctrlPr>
                          <a:rPr lang="af-ZA" sz="1100" b="1" i="1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100" b="1" i="1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𝑰</m:t>
                        </m:r>
                      </m:e>
                      <m:sup>
                        <m:r>
                          <a:rPr lang="en-US" sz="1100" b="1" i="1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𝟐</m:t>
                        </m:r>
                      </m:sup>
                    </m:sSup>
                  </m:oMath>
                </a14:m>
                <a:r>
                  <a:rPr lang="ru-RU" sz="1100" b="1" dirty="0">
                    <a:solidFill>
                      <a:schemeClr val="accent3">
                        <a:lumMod val="50000"/>
                      </a:schemeClr>
                    </a:solidFill>
                  </a:rPr>
                  <a:t>- защита лица </a:t>
                </a:r>
                <a:r>
                  <a:rPr lang="ru-RU" sz="1100" dirty="0">
                    <a:solidFill>
                      <a:schemeClr val="accent3">
                        <a:lumMod val="50000"/>
                      </a:schemeClr>
                    </a:solidFill>
                  </a:rPr>
                  <a:t>(маска, лицевой шлем, барьерные кремы);</a:t>
                </a:r>
              </a:p>
              <a:p>
                <a14:m>
                  <m:oMath xmlns:m="http://schemas.openxmlformats.org/officeDocument/2006/math">
                    <m:sSup>
                      <m:sSupPr>
                        <m:ctrlPr>
                          <a:rPr lang="af-ZA" sz="1100" b="1" i="1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100" b="1" i="1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𝑰</m:t>
                        </m:r>
                      </m:e>
                      <m:sup>
                        <m:r>
                          <a:rPr lang="ru-RU" sz="1100" b="1" i="1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𝟑</m:t>
                        </m:r>
                      </m:sup>
                    </m:sSup>
                  </m:oMath>
                </a14:m>
                <a:r>
                  <a:rPr lang="ru-RU" sz="1100" b="1" dirty="0">
                    <a:solidFill>
                      <a:schemeClr val="accent3">
                        <a:lumMod val="50000"/>
                      </a:schemeClr>
                    </a:solidFill>
                  </a:rPr>
                  <a:t>- защита органов зрения  </a:t>
                </a:r>
                <a:r>
                  <a:rPr lang="ru-RU" sz="1100" dirty="0">
                    <a:solidFill>
                      <a:schemeClr val="accent3">
                        <a:lumMod val="50000"/>
                      </a:schemeClr>
                    </a:solidFill>
                  </a:rPr>
                  <a:t>(очки, лицевой шлем, лорнет, козырьковые очки); </a:t>
                </a:r>
              </a:p>
              <a:p>
                <a14:m>
                  <m:oMath xmlns:m="http://schemas.openxmlformats.org/officeDocument/2006/math">
                    <m:sSup>
                      <m:sSupPr>
                        <m:ctrlPr>
                          <a:rPr lang="af-ZA" sz="1100" b="1" i="1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100" b="1" i="1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𝑰</m:t>
                        </m:r>
                      </m:e>
                      <m:sup>
                        <m:r>
                          <a:rPr lang="ru-RU" sz="1100" b="1" i="1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𝟒</m:t>
                        </m:r>
                      </m:sup>
                    </m:sSup>
                  </m:oMath>
                </a14:m>
                <a:r>
                  <a:rPr lang="ru-RU" sz="1100" b="1" dirty="0">
                    <a:solidFill>
                      <a:schemeClr val="accent3">
                        <a:lumMod val="50000"/>
                      </a:schemeClr>
                    </a:solidFill>
                  </a:rPr>
                  <a:t>- защита органов слуха  </a:t>
                </a:r>
                <a:r>
                  <a:rPr lang="ru-RU" sz="1100" dirty="0">
                    <a:solidFill>
                      <a:schemeClr val="accent3">
                        <a:lumMod val="50000"/>
                      </a:schemeClr>
                    </a:solidFill>
                  </a:rPr>
                  <a:t>(противошумные: беруши, наушники, вкладыши);  </a:t>
                </a:r>
              </a:p>
              <a:p>
                <a:pPr lvl="0"/>
                <a14:m>
                  <m:oMath xmlns:m="http://schemas.openxmlformats.org/officeDocument/2006/math">
                    <m:sSup>
                      <m:sSupPr>
                        <m:ctrlPr>
                          <a:rPr lang="af-ZA" sz="1100" b="1" i="1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100" b="1" i="1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𝑰</m:t>
                        </m:r>
                      </m:e>
                      <m:sup>
                        <m:r>
                          <a:rPr lang="ru-RU" sz="1100" b="1" i="1">
                            <a:solidFill>
                              <a:schemeClr val="accent3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𝟓</m:t>
                        </m:r>
                      </m:sup>
                    </m:sSup>
                  </m:oMath>
                </a14:m>
                <a:r>
                  <a:rPr lang="ru-RU" sz="1100" b="1" dirty="0">
                    <a:solidFill>
                      <a:schemeClr val="accent3">
                        <a:lumMod val="50000"/>
                      </a:schemeClr>
                    </a:solidFill>
                  </a:rPr>
                  <a:t>- защита органов дыхания  </a:t>
                </a:r>
                <a:r>
                  <a:rPr lang="ru-RU" sz="1100" dirty="0">
                    <a:solidFill>
                      <a:schemeClr val="accent3">
                        <a:lumMod val="50000"/>
                      </a:schemeClr>
                    </a:solidFill>
                  </a:rPr>
                  <a:t>(респираторы, противогазы, полумаски фильтрующие);  </a:t>
                </a:r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4818" y="4889523"/>
                <a:ext cx="5321467" cy="960006"/>
              </a:xfrm>
              <a:prstGeom prst="rect">
                <a:avLst/>
              </a:prstGeom>
              <a:blipFill>
                <a:blip r:embed="rId3"/>
                <a:stretch>
                  <a:fillRect r="-573" b="-316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6390507" y="4863482"/>
                <a:ext cx="5670000" cy="14562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/>
                <a14:m>
                  <m:oMath xmlns:m="http://schemas.openxmlformats.org/officeDocument/2006/math">
                    <m:r>
                      <a:rPr lang="en-US" sz="1100" b="1" i="1">
                        <a:solidFill>
                          <a:schemeClr val="accent3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𝑰𝑰</m:t>
                    </m:r>
                  </m:oMath>
                </a14:m>
                <a:r>
                  <a:rPr lang="ru-RU" sz="1100" b="1" dirty="0">
                    <a:solidFill>
                      <a:schemeClr val="accent3">
                        <a:lumMod val="50000"/>
                      </a:schemeClr>
                    </a:solidFill>
                  </a:rPr>
                  <a:t>- защита тела </a:t>
                </a:r>
                <a:r>
                  <a:rPr lang="ru-RU" sz="1100" dirty="0">
                    <a:solidFill>
                      <a:schemeClr val="accent3">
                        <a:lumMod val="50000"/>
                      </a:schemeClr>
                    </a:solidFill>
                  </a:rPr>
                  <a:t>(куртка, брюки, жилет, комбинезон, халат и т. п.); </a:t>
                </a:r>
              </a:p>
              <a:p>
                <a:pPr algn="just"/>
                <a14:m>
                  <m:oMath xmlns:m="http://schemas.openxmlformats.org/officeDocument/2006/math">
                    <m:r>
                      <a:rPr lang="en-US" sz="1100" b="1" i="1">
                        <a:solidFill>
                          <a:schemeClr val="accent3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𝑰𝑰𝑰</m:t>
                    </m:r>
                  </m:oMath>
                </a14:m>
                <a:r>
                  <a:rPr lang="ru-RU" sz="1100" b="1" dirty="0">
                    <a:solidFill>
                      <a:schemeClr val="accent3">
                        <a:lumMod val="50000"/>
                      </a:schemeClr>
                    </a:solidFill>
                  </a:rPr>
                  <a:t>- защита рук </a:t>
                </a:r>
                <a:r>
                  <a:rPr lang="ru-RU" sz="1100" dirty="0">
                    <a:solidFill>
                      <a:schemeClr val="accent3">
                        <a:lumMod val="50000"/>
                      </a:schemeClr>
                    </a:solidFill>
                  </a:rPr>
                  <a:t>(рукавицы</a:t>
                </a:r>
                <a:r>
                  <a:rPr lang="en-US" sz="1100" dirty="0">
                    <a:solidFill>
                      <a:schemeClr val="accent3">
                        <a:lumMod val="50000"/>
                      </a:schemeClr>
                    </a:solidFill>
                  </a:rPr>
                  <a:t>, </a:t>
                </a:r>
                <a:r>
                  <a:rPr lang="ru-RU" sz="1100" dirty="0">
                    <a:solidFill>
                      <a:schemeClr val="accent3">
                        <a:lumMod val="50000"/>
                      </a:schemeClr>
                    </a:solidFill>
                  </a:rPr>
                  <a:t> перчатки, варежки, спилковые краги, перчатки для сварки, наплечники, нарукавники, барьерные кремы и др.);</a:t>
                </a:r>
              </a:p>
              <a:p>
                <a:pPr algn="just"/>
                <a14:m>
                  <m:oMath xmlns:m="http://schemas.openxmlformats.org/officeDocument/2006/math">
                    <m:r>
                      <a:rPr lang="en-US" sz="1100" b="1" i="1">
                        <a:solidFill>
                          <a:schemeClr val="accent3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𝑰𝑽</m:t>
                    </m:r>
                  </m:oMath>
                </a14:m>
                <a:r>
                  <a:rPr lang="ru-RU" sz="1100" b="1" dirty="0">
                    <a:solidFill>
                      <a:schemeClr val="accent3">
                        <a:lumMod val="50000"/>
                      </a:schemeClr>
                    </a:solidFill>
                  </a:rPr>
                  <a:t>- защита ног </a:t>
                </a:r>
                <a:r>
                  <a:rPr lang="ru-RU" sz="1100" dirty="0">
                    <a:solidFill>
                      <a:schemeClr val="accent3">
                        <a:lumMod val="50000"/>
                      </a:schemeClr>
                    </a:solidFill>
                  </a:rPr>
                  <a:t>(бахилы непромокаемые, галоши, боты, </a:t>
                </a:r>
                <a:r>
                  <a:rPr lang="ru-RU" sz="1100" dirty="0" err="1">
                    <a:solidFill>
                      <a:schemeClr val="accent3">
                        <a:lumMod val="50000"/>
                      </a:schemeClr>
                    </a:solidFill>
                  </a:rPr>
                  <a:t>полусапоги</a:t>
                </a:r>
                <a:r>
                  <a:rPr lang="ru-RU" sz="1100" dirty="0">
                    <a:solidFill>
                      <a:schemeClr val="accent3">
                        <a:lumMod val="50000"/>
                      </a:schemeClr>
                    </a:solidFill>
                  </a:rPr>
                  <a:t>, ботинки, полуботинки, туфли, тапочки и др.); </a:t>
                </a:r>
              </a:p>
              <a:p>
                <a:pPr algn="just"/>
                <a:r>
                  <a:rPr lang="en-US" sz="1100" b="1" i="1" dirty="0" smtClean="0">
                    <a:solidFill>
                      <a:schemeClr val="accent3">
                        <a:lumMod val="50000"/>
                      </a:schemeClr>
                    </a:solidFill>
                  </a:rPr>
                  <a:t>V </a:t>
                </a:r>
                <a:r>
                  <a:rPr lang="ru-RU" sz="1100" b="1" i="1" dirty="0" smtClean="0">
                    <a:solidFill>
                      <a:schemeClr val="accent3">
                        <a:lumMod val="50000"/>
                      </a:schemeClr>
                    </a:solidFill>
                  </a:rPr>
                  <a:t>- </a:t>
                </a:r>
                <a:r>
                  <a:rPr lang="ru-RU" sz="1100" b="1" dirty="0">
                    <a:solidFill>
                      <a:schemeClr val="accent3">
                        <a:lumMod val="50000"/>
                      </a:schemeClr>
                    </a:solidFill>
                  </a:rPr>
                  <a:t>защита всех частей тела  </a:t>
                </a:r>
                <a:r>
                  <a:rPr lang="ru-RU" sz="1100" dirty="0">
                    <a:solidFill>
                      <a:schemeClr val="accent3">
                        <a:lumMod val="50000"/>
                      </a:schemeClr>
                    </a:solidFill>
                  </a:rPr>
                  <a:t>(страховочная привязь, пояс предохранительный, костюм изолирующий скафандрового типа, радиозащитные средства (таблетки – радиопротекторы), средства личной гигиены);  </a:t>
                </a:r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90507" y="4863482"/>
                <a:ext cx="5670000" cy="1456296"/>
              </a:xfrm>
              <a:prstGeom prst="rect">
                <a:avLst/>
              </a:prstGeom>
              <a:blipFill>
                <a:blip r:embed="rId4"/>
                <a:stretch>
                  <a:fillRect b="-125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Прямоугольник 2"/>
          <p:cNvSpPr/>
          <p:nvPr/>
        </p:nvSpPr>
        <p:spPr>
          <a:xfrm>
            <a:off x="-11129" y="6334780"/>
            <a:ext cx="12185238" cy="523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algn="just"/>
            <a:r>
              <a:rPr lang="ru-RU" sz="1400" dirty="0"/>
              <a:t>* Присвоение номеров частей тела производилось на основе </a:t>
            </a:r>
            <a:r>
              <a:rPr lang="ru-RU" sz="1400" dirty="0">
                <a:solidFill>
                  <a:srgbClr val="3E226F"/>
                </a:solidFill>
              </a:rPr>
              <a:t>международной практики МОТ</a:t>
            </a:r>
            <a:r>
              <a:rPr lang="ru-RU" sz="1400" dirty="0"/>
              <a:t>, применяющей детальную нумерацию частей тела состоящую из 400 </a:t>
            </a:r>
            <a:r>
              <a:rPr lang="ru-RU" sz="1400" dirty="0" err="1"/>
              <a:t>пин</a:t>
            </a:r>
            <a:r>
              <a:rPr lang="ru-RU" sz="1400" dirty="0"/>
              <a:t>-кодов, при оценке постоянной частичной нетрудоспособности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/>
          <a:srcRect l="29035" t="27428" r="9251" b="19554"/>
          <a:stretch/>
        </p:blipFill>
        <p:spPr>
          <a:xfrm>
            <a:off x="1270896" y="686509"/>
            <a:ext cx="9865104" cy="4176979"/>
          </a:xfrm>
          <a:prstGeom prst="rect">
            <a:avLst/>
          </a:prstGeom>
        </p:spPr>
      </p:pic>
      <p:cxnSp>
        <p:nvCxnSpPr>
          <p:cNvPr id="16" name="Прямая соединительная линия 15">
            <a:extLst>
              <a:ext uri="{FF2B5EF4-FFF2-40B4-BE49-F238E27FC236}">
                <a16:creationId xmlns="" xmlns:a16="http://schemas.microsoft.com/office/drawing/2014/main" id="{69CE0D03-021E-1AE6-D55E-2BCA59863ACD}"/>
              </a:ext>
            </a:extLst>
          </p:cNvPr>
          <p:cNvCxnSpPr>
            <a:cxnSpLocks/>
          </p:cNvCxnSpPr>
          <p:nvPr/>
        </p:nvCxnSpPr>
        <p:spPr>
          <a:xfrm>
            <a:off x="339159" y="584111"/>
            <a:ext cx="111045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1020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38" name="Рисунок 413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902917">
            <a:off x="1765211" y="4581459"/>
            <a:ext cx="705655" cy="797515"/>
          </a:xfrm>
          <a:prstGeom prst="rect">
            <a:avLst/>
          </a:prstGeom>
        </p:spPr>
      </p:pic>
      <p:sp>
        <p:nvSpPr>
          <p:cNvPr id="4099" name="TextBox 20"/>
          <p:cNvSpPr txBox="1">
            <a:spLocks noChangeArrowheads="1"/>
          </p:cNvSpPr>
          <p:nvPr/>
        </p:nvSpPr>
        <p:spPr bwMode="auto">
          <a:xfrm>
            <a:off x="11877675" y="7437438"/>
            <a:ext cx="3063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kk-KZ" altLang="ru-RU" sz="1000">
                <a:solidFill>
                  <a:srgbClr val="000000"/>
                </a:solidFill>
                <a:latin typeface="Arial Narrow" panose="020B0606020202030204" pitchFamily="34" charset="0"/>
              </a:rPr>
              <a:t>14</a:t>
            </a:r>
            <a:endParaRPr lang="ru-RU" altLang="ru-RU" sz="10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4100" name="TextBox 22"/>
          <p:cNvSpPr txBox="1">
            <a:spLocks noChangeArrowheads="1"/>
          </p:cNvSpPr>
          <p:nvPr/>
        </p:nvSpPr>
        <p:spPr bwMode="auto">
          <a:xfrm>
            <a:off x="46925" y="255448"/>
            <a:ext cx="122092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ОР СРЕДСТВ ИНДИВИДУАЛЬНОЙ ЗАЩИТЫ ПО СТЕПЕНИ ПРОФЕССИОНАЛЬНОГО РИСКА</a:t>
            </a:r>
            <a:endParaRPr lang="ru-RU" altLang="ru-RU" sz="1800" b="1" dirty="0">
              <a:solidFill>
                <a:srgbClr val="002060"/>
              </a:solidFill>
              <a:latin typeface="Franklin Gothic Medium" panose="020B0603020102020204" pitchFamily="34" charset="0"/>
            </a:endParaRPr>
          </a:p>
        </p:txBody>
      </p:sp>
      <p:sp>
        <p:nvSpPr>
          <p:cNvPr id="23" name="TextBox 33"/>
          <p:cNvSpPr txBox="1">
            <a:spLocks noChangeArrowheads="1"/>
          </p:cNvSpPr>
          <p:nvPr/>
        </p:nvSpPr>
        <p:spPr bwMode="auto">
          <a:xfrm>
            <a:off x="11393488" y="-7882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ru-RU" alt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TextBox 61">
            <a:extLst>
              <a:ext uri="{FF2B5EF4-FFF2-40B4-BE49-F238E27FC236}">
                <a16:creationId xmlns="" xmlns:a16="http://schemas.microsoft.com/office/drawing/2014/main" id="{0EAC8CF1-E49F-C84E-286D-9817CDD076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5333" y="1095782"/>
            <a:ext cx="1382152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СЕЙЧАС</a:t>
            </a:r>
          </a:p>
        </p:txBody>
      </p:sp>
      <p:sp>
        <p:nvSpPr>
          <p:cNvPr id="92" name="TextBox 1">
            <a:extLst>
              <a:ext uri="{FF2B5EF4-FFF2-40B4-BE49-F238E27FC236}">
                <a16:creationId xmlns="" xmlns:a16="http://schemas.microsoft.com/office/drawing/2014/main" id="{36B139CB-7E70-7402-6314-13EE6A0961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60297" y="2920123"/>
            <a:ext cx="1189037" cy="446087"/>
          </a:xfrm>
          <a:prstGeom prst="rect">
            <a:avLst/>
          </a:prstGeom>
          <a:solidFill>
            <a:srgbClr val="2E75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rPr>
              <a:t>1 </a:t>
            </a: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rPr>
              <a:t>степень</a:t>
            </a:r>
          </a:p>
        </p:txBody>
      </p:sp>
      <p:sp>
        <p:nvSpPr>
          <p:cNvPr id="93" name="TextBox 57">
            <a:extLst>
              <a:ext uri="{FF2B5EF4-FFF2-40B4-BE49-F238E27FC236}">
                <a16:creationId xmlns="" xmlns:a16="http://schemas.microsoft.com/office/drawing/2014/main" id="{9B14E7B6-3E1B-551D-22B9-5B3051D283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07806" y="3708907"/>
            <a:ext cx="1189037" cy="446087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rPr>
              <a:t>2 </a:t>
            </a: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rPr>
              <a:t>степень</a:t>
            </a:r>
          </a:p>
        </p:txBody>
      </p:sp>
      <p:sp>
        <p:nvSpPr>
          <p:cNvPr id="94" name="TextBox 58">
            <a:extLst>
              <a:ext uri="{FF2B5EF4-FFF2-40B4-BE49-F238E27FC236}">
                <a16:creationId xmlns="" xmlns:a16="http://schemas.microsoft.com/office/drawing/2014/main" id="{D9208072-5C95-4DEC-C831-AB0A97819F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0689" y="4465311"/>
            <a:ext cx="1189037" cy="446087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rPr>
              <a:t>3 </a:t>
            </a: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rPr>
              <a:t>степень</a:t>
            </a:r>
          </a:p>
        </p:txBody>
      </p:sp>
      <p:sp>
        <p:nvSpPr>
          <p:cNvPr id="95" name="TextBox 59">
            <a:extLst>
              <a:ext uri="{FF2B5EF4-FFF2-40B4-BE49-F238E27FC236}">
                <a16:creationId xmlns="" xmlns:a16="http://schemas.microsoft.com/office/drawing/2014/main" id="{2BC72A8A-E9CA-6834-E4A8-A997394787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18480" y="5191183"/>
            <a:ext cx="1189037" cy="430887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rPr>
              <a:t>4</a:t>
            </a: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rPr>
              <a:t>степень</a:t>
            </a:r>
          </a:p>
        </p:txBody>
      </p:sp>
      <p:sp>
        <p:nvSpPr>
          <p:cNvPr id="96" name="TextBox 67">
            <a:extLst>
              <a:ext uri="{FF2B5EF4-FFF2-40B4-BE49-F238E27FC236}">
                <a16:creationId xmlns="" xmlns:a16="http://schemas.microsoft.com/office/drawing/2014/main" id="{3B049C04-54BE-49A2-3C2F-1FB4D516CA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17442" y="5904535"/>
            <a:ext cx="1189037" cy="447675"/>
          </a:xfrm>
          <a:prstGeom prst="rect">
            <a:avLst/>
          </a:prstGeom>
          <a:solidFill>
            <a:srgbClr val="7799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rPr>
              <a:t>5</a:t>
            </a: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rPr>
              <a:t>степень</a:t>
            </a:r>
          </a:p>
        </p:txBody>
      </p:sp>
      <p:sp>
        <p:nvSpPr>
          <p:cNvPr id="97" name="TextBox 81">
            <a:extLst>
              <a:ext uri="{FF2B5EF4-FFF2-40B4-BE49-F238E27FC236}">
                <a16:creationId xmlns="" xmlns:a16="http://schemas.microsoft.com/office/drawing/2014/main" id="{55C61060-45B4-07D6-DE13-FD5C810E11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94594" y="3330105"/>
            <a:ext cx="9683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устимый</a:t>
            </a:r>
          </a:p>
        </p:txBody>
      </p:sp>
      <p:sp>
        <p:nvSpPr>
          <p:cNvPr id="98" name="Прямоугольник 18">
            <a:extLst>
              <a:ext uri="{FF2B5EF4-FFF2-40B4-BE49-F238E27FC236}">
                <a16:creationId xmlns="" xmlns:a16="http://schemas.microsoft.com/office/drawing/2014/main" id="{7DA8341A-C2C2-EEA4-87C1-B515E1B80A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2078" y="1754352"/>
            <a:ext cx="3600241" cy="120032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altLang="ru-RU" sz="12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ение СИЗ </a:t>
            </a:r>
            <a:r>
              <a:rPr lang="ru-RU" altLang="ru-RU" sz="1200" b="1" dirty="0" smtClean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ится </a:t>
            </a:r>
            <a:r>
              <a:rPr lang="ru-RU" altLang="ru-RU" sz="12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зависимости от степени профессиональных рисков</a:t>
            </a:r>
            <a:r>
              <a:rPr lang="ru-RU" altLang="ru-RU" sz="1200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т. е. от кратности превышения значений предельно допустимой концентрации (ПДК) вредных веществ на рабочем месте и технической характеристики самого СИЗОД</a:t>
            </a:r>
          </a:p>
        </p:txBody>
      </p:sp>
      <p:sp>
        <p:nvSpPr>
          <p:cNvPr id="99" name="TextBox 99">
            <a:extLst>
              <a:ext uri="{FF2B5EF4-FFF2-40B4-BE49-F238E27FC236}">
                <a16:creationId xmlns="" xmlns:a16="http://schemas.microsoft.com/office/drawing/2014/main" id="{5D8EEFDC-07DD-A6A3-64CF-E442341DC6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95849" y="4429489"/>
            <a:ext cx="683075" cy="369332"/>
          </a:xfrm>
          <a:prstGeom prst="rect">
            <a:avLst/>
          </a:prstGeom>
          <a:solidFill>
            <a:srgbClr val="FFD9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С</a:t>
            </a:r>
          </a:p>
        </p:txBody>
      </p:sp>
      <p:sp>
        <p:nvSpPr>
          <p:cNvPr id="100" name="TextBox 100">
            <a:extLst>
              <a:ext uri="{FF2B5EF4-FFF2-40B4-BE49-F238E27FC236}">
                <a16:creationId xmlns="" xmlns:a16="http://schemas.microsoft.com/office/drawing/2014/main" id="{EFD08F5E-1513-667B-193F-76776126BE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81175" y="3716926"/>
            <a:ext cx="704850" cy="446087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D</a:t>
            </a:r>
            <a:endParaRPr kumimoji="0" lang="ru-RU" altLang="ru-RU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5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101" name="TextBox 101">
            <a:extLst>
              <a:ext uri="{FF2B5EF4-FFF2-40B4-BE49-F238E27FC236}">
                <a16:creationId xmlns="" xmlns:a16="http://schemas.microsoft.com/office/drawing/2014/main" id="{C47E1566-71CA-CC4F-DD71-05A2C4885C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09965" y="5194076"/>
            <a:ext cx="704850" cy="368300"/>
          </a:xfrm>
          <a:prstGeom prst="rect">
            <a:avLst/>
          </a:prstGeom>
          <a:solidFill>
            <a:srgbClr val="FF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В</a:t>
            </a:r>
          </a:p>
        </p:txBody>
      </p:sp>
      <p:sp>
        <p:nvSpPr>
          <p:cNvPr id="102" name="TextBox 103">
            <a:extLst>
              <a:ext uri="{FF2B5EF4-FFF2-40B4-BE49-F238E27FC236}">
                <a16:creationId xmlns="" xmlns:a16="http://schemas.microsoft.com/office/drawing/2014/main" id="{B34B6E70-AB59-6377-90F3-E3C24E56CD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04104" y="5881182"/>
            <a:ext cx="704850" cy="369888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rPr>
              <a:t>A</a:t>
            </a:r>
            <a:endParaRPr kumimoji="0" lang="ru-RU" altLang="ru-RU" sz="1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="" xmlns:a16="http://schemas.microsoft.com/office/drawing/2014/main" id="{852A2341-E13F-EBCC-146B-CA6A577827EC}"/>
              </a:ext>
            </a:extLst>
          </p:cNvPr>
          <p:cNvSpPr txBox="1"/>
          <p:nvPr/>
        </p:nvSpPr>
        <p:spPr>
          <a:xfrm>
            <a:off x="7360216" y="5871732"/>
            <a:ext cx="1093788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симальная защита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="" xmlns:a16="http://schemas.microsoft.com/office/drawing/2014/main" id="{DBDE0E21-8ED2-3796-D282-66D1FC4D2419}"/>
              </a:ext>
            </a:extLst>
          </p:cNvPr>
          <p:cNvSpPr txBox="1"/>
          <p:nvPr/>
        </p:nvSpPr>
        <p:spPr>
          <a:xfrm>
            <a:off x="7329473" y="3732950"/>
            <a:ext cx="99864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альная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щита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="" xmlns:a16="http://schemas.microsoft.com/office/drawing/2014/main" id="{41EC6516-EC42-5212-6676-2DF9021885E2}"/>
              </a:ext>
            </a:extLst>
          </p:cNvPr>
          <p:cNvSpPr txBox="1"/>
          <p:nvPr/>
        </p:nvSpPr>
        <p:spPr>
          <a:xfrm>
            <a:off x="7329473" y="4417336"/>
            <a:ext cx="820737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яя защита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="" xmlns:a16="http://schemas.microsoft.com/office/drawing/2014/main" id="{B8F86160-3DE5-729F-6B2C-68E195704694}"/>
              </a:ext>
            </a:extLst>
          </p:cNvPr>
          <p:cNvSpPr txBox="1"/>
          <p:nvPr/>
        </p:nvSpPr>
        <p:spPr>
          <a:xfrm>
            <a:off x="7360216" y="5157254"/>
            <a:ext cx="819150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ая защита</a:t>
            </a:r>
          </a:p>
        </p:txBody>
      </p:sp>
      <p:grpSp>
        <p:nvGrpSpPr>
          <p:cNvPr id="107" name="Группа 106">
            <a:extLst>
              <a:ext uri="{FF2B5EF4-FFF2-40B4-BE49-F238E27FC236}">
                <a16:creationId xmlns="" xmlns:a16="http://schemas.microsoft.com/office/drawing/2014/main" id="{CA0817F5-29DB-CB2A-44D3-64E6BD8AC7D7}"/>
              </a:ext>
            </a:extLst>
          </p:cNvPr>
          <p:cNvGrpSpPr/>
          <p:nvPr/>
        </p:nvGrpSpPr>
        <p:grpSpPr bwMode="auto">
          <a:xfrm rot="10800000" flipH="1">
            <a:off x="6374979" y="3840714"/>
            <a:ext cx="235937" cy="2345950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108" name="Шеврон 20">
              <a:extLst>
                <a:ext uri="{FF2B5EF4-FFF2-40B4-BE49-F238E27FC236}">
                  <a16:creationId xmlns="" xmlns:a16="http://schemas.microsoft.com/office/drawing/2014/main" id="{5D9A46E5-54DF-B8A3-8537-2A441246FDF1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ysClr val="window" lastClr="FFFFFF">
                <a:lumMod val="75000"/>
              </a:sysClr>
            </a:solidFill>
            <a:ln w="9525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09" name="Шеврон 71">
              <a:extLst>
                <a:ext uri="{FF2B5EF4-FFF2-40B4-BE49-F238E27FC236}">
                  <a16:creationId xmlns="" xmlns:a16="http://schemas.microsoft.com/office/drawing/2014/main" id="{4E892C03-DACE-2079-8C0B-D5CC586E7666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rgbClr val="5B9BD5"/>
            </a:solidFill>
            <a:ln w="9525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127" name="TextBox 82">
            <a:extLst>
              <a:ext uri="{FF2B5EF4-FFF2-40B4-BE49-F238E27FC236}">
                <a16:creationId xmlns="" xmlns:a16="http://schemas.microsoft.com/office/drawing/2014/main" id="{97971D35-82AD-A51B-024D-DDE5C92B9B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19900" y="4088057"/>
            <a:ext cx="59213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</a:t>
            </a:r>
          </a:p>
        </p:txBody>
      </p:sp>
      <p:sp>
        <p:nvSpPr>
          <p:cNvPr id="128" name="TextBox 83">
            <a:extLst>
              <a:ext uri="{FF2B5EF4-FFF2-40B4-BE49-F238E27FC236}">
                <a16:creationId xmlns="" xmlns:a16="http://schemas.microsoft.com/office/drawing/2014/main" id="{3234DCAE-B5C9-7061-F555-143A57331A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80526" y="4836117"/>
            <a:ext cx="7239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</a:t>
            </a:r>
          </a:p>
        </p:txBody>
      </p:sp>
      <p:sp>
        <p:nvSpPr>
          <p:cNvPr id="129" name="TextBox 84">
            <a:extLst>
              <a:ext uri="{FF2B5EF4-FFF2-40B4-BE49-F238E27FC236}">
                <a16:creationId xmlns="" xmlns:a16="http://schemas.microsoft.com/office/drawing/2014/main" id="{508BAD13-6BED-261A-026C-83A443E18B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98867" y="5537620"/>
            <a:ext cx="7143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</a:t>
            </a:r>
          </a:p>
        </p:txBody>
      </p:sp>
      <p:sp>
        <p:nvSpPr>
          <p:cNvPr id="130" name="TextBox 85">
            <a:extLst>
              <a:ext uri="{FF2B5EF4-FFF2-40B4-BE49-F238E27FC236}">
                <a16:creationId xmlns="" xmlns:a16="http://schemas.microsoft.com/office/drawing/2014/main" id="{1F7774BC-4A40-883B-DB2C-782C2F5EBE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39713" y="6322551"/>
            <a:ext cx="117316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чень высокий</a:t>
            </a:r>
          </a:p>
        </p:txBody>
      </p:sp>
      <p:sp>
        <p:nvSpPr>
          <p:cNvPr id="131" name="Прямоугольник 183">
            <a:extLst>
              <a:ext uri="{FF2B5EF4-FFF2-40B4-BE49-F238E27FC236}">
                <a16:creationId xmlns="" xmlns:a16="http://schemas.microsoft.com/office/drawing/2014/main" id="{03F3CCCF-40CD-81FC-1E33-02FE5DA495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64861" y="1478687"/>
            <a:ext cx="3409127" cy="57708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altLang="x-none" sz="10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ПРОФЕССИОНАЛЬНОГО РИСКА </a:t>
            </a:r>
            <a:r>
              <a:rPr lang="ru-RU" altLang="x-none" sz="105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являет ВХВ и РАНЖИРУЕТ концентрацию их в воздухе рабочей зоны на 4 группы</a:t>
            </a:r>
            <a:endParaRPr lang="ru-RU" altLang="x-none" sz="105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TextBox 61">
            <a:extLst>
              <a:ext uri="{FF2B5EF4-FFF2-40B4-BE49-F238E27FC236}">
                <a16:creationId xmlns="" xmlns:a16="http://schemas.microsoft.com/office/drawing/2014/main" id="{27A4975D-54FC-BE3F-C6EB-6E2FEEE58B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93723" y="2388355"/>
            <a:ext cx="223008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9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епень профессионального риска</a:t>
            </a:r>
          </a:p>
        </p:txBody>
      </p:sp>
      <p:sp>
        <p:nvSpPr>
          <p:cNvPr id="133" name="TextBox 61">
            <a:extLst>
              <a:ext uri="{FF2B5EF4-FFF2-40B4-BE49-F238E27FC236}">
                <a16:creationId xmlns="" xmlns:a16="http://schemas.microsoft.com/office/drawing/2014/main" id="{E4EFCDC9-5D30-B401-F78B-08158AF446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86681" y="2847899"/>
            <a:ext cx="1560962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фференциация рабочего места по степени профессионального риска и уровню защиты работника</a:t>
            </a:r>
          </a:p>
        </p:txBody>
      </p:sp>
      <p:cxnSp>
        <p:nvCxnSpPr>
          <p:cNvPr id="135" name="Прямая соединительная линия 134">
            <a:extLst>
              <a:ext uri="{FF2B5EF4-FFF2-40B4-BE49-F238E27FC236}">
                <a16:creationId xmlns="" xmlns:a16="http://schemas.microsoft.com/office/drawing/2014/main" id="{9C2AD12B-EAEF-F238-75B1-6B12A60BA0B4}"/>
              </a:ext>
            </a:extLst>
          </p:cNvPr>
          <p:cNvCxnSpPr>
            <a:cxnSpLocks/>
          </p:cNvCxnSpPr>
          <p:nvPr/>
        </p:nvCxnSpPr>
        <p:spPr>
          <a:xfrm>
            <a:off x="8247643" y="2030101"/>
            <a:ext cx="52579" cy="4061396"/>
          </a:xfrm>
          <a:prstGeom prst="line">
            <a:avLst/>
          </a:prstGeom>
          <a:noFill/>
          <a:ln w="6350" cap="flat" cmpd="sng" algn="ctr">
            <a:solidFill>
              <a:srgbClr val="5B9BD5"/>
            </a:solidFill>
            <a:prstDash val="dash"/>
            <a:miter lim="800000"/>
          </a:ln>
          <a:effectLst/>
        </p:spPr>
      </p:cxnSp>
      <p:sp>
        <p:nvSpPr>
          <p:cNvPr id="145" name="TextBox 61">
            <a:extLst>
              <a:ext uri="{FF2B5EF4-FFF2-40B4-BE49-F238E27FC236}">
                <a16:creationId xmlns="" xmlns:a16="http://schemas.microsoft.com/office/drawing/2014/main" id="{1419B0BB-8F37-D6AB-5C2C-6253AF8A42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60490" y="996352"/>
            <a:ext cx="2862262" cy="307777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К БУДЕТ</a:t>
            </a:r>
          </a:p>
        </p:txBody>
      </p:sp>
      <p:sp>
        <p:nvSpPr>
          <p:cNvPr id="18" name="Стрелка вниз 17"/>
          <p:cNvSpPr/>
          <p:nvPr/>
        </p:nvSpPr>
        <p:spPr>
          <a:xfrm>
            <a:off x="5390065" y="2655257"/>
            <a:ext cx="511673" cy="151021"/>
          </a:xfrm>
          <a:prstGeom prst="downArrow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8754372" y="3712687"/>
            <a:ext cx="698390" cy="369332"/>
          </a:xfrm>
          <a:prstGeom prst="rect">
            <a:avLst/>
          </a:prstGeom>
          <a:ln>
            <a:solidFill>
              <a:srgbClr val="92D050"/>
            </a:solidFill>
          </a:ln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9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ше 1 до 4 ПДК</a:t>
            </a:r>
            <a:endParaRPr lang="ru-RU" sz="900" b="1" dirty="0">
              <a:solidFill>
                <a:srgbClr val="E7E6E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0" name="Прямая со стрелкой 159">
            <a:extLst>
              <a:ext uri="{FF2B5EF4-FFF2-40B4-BE49-F238E27FC236}">
                <a16:creationId xmlns=""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V="1">
            <a:off x="8259951" y="3880878"/>
            <a:ext cx="228075" cy="1322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lgDash"/>
            <a:miter lim="800000"/>
            <a:tailEnd type="triangle"/>
          </a:ln>
          <a:effectLst/>
        </p:spPr>
      </p:cxnSp>
      <p:cxnSp>
        <p:nvCxnSpPr>
          <p:cNvPr id="168" name="Прямая со стрелкой 167">
            <a:extLst>
              <a:ext uri="{FF2B5EF4-FFF2-40B4-BE49-F238E27FC236}">
                <a16:creationId xmlns=""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V="1">
            <a:off x="8276356" y="4625780"/>
            <a:ext cx="228075" cy="1322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lgDash"/>
            <a:miter lim="800000"/>
            <a:tailEnd type="triangle"/>
          </a:ln>
          <a:effectLst/>
        </p:spPr>
      </p:cxnSp>
      <p:cxnSp>
        <p:nvCxnSpPr>
          <p:cNvPr id="169" name="Прямая со стрелкой 168">
            <a:extLst>
              <a:ext uri="{FF2B5EF4-FFF2-40B4-BE49-F238E27FC236}">
                <a16:creationId xmlns=""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V="1">
            <a:off x="8282232" y="5345399"/>
            <a:ext cx="228075" cy="1322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lgDash"/>
            <a:miter lim="800000"/>
            <a:tailEnd type="triangle"/>
          </a:ln>
          <a:effectLst/>
        </p:spPr>
      </p:cxnSp>
      <p:cxnSp>
        <p:nvCxnSpPr>
          <p:cNvPr id="173" name="Прямая со стрелкой 172">
            <a:extLst>
              <a:ext uri="{FF2B5EF4-FFF2-40B4-BE49-F238E27FC236}">
                <a16:creationId xmlns=""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V="1">
            <a:off x="8282231" y="6078276"/>
            <a:ext cx="228075" cy="1322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lgDash"/>
            <a:miter lim="800000"/>
            <a:tailEnd type="triangle"/>
          </a:ln>
          <a:effectLst/>
        </p:spPr>
      </p:cxnSp>
      <p:sp>
        <p:nvSpPr>
          <p:cNvPr id="174" name="Прямоугольник 173"/>
          <p:cNvSpPr/>
          <p:nvPr/>
        </p:nvSpPr>
        <p:spPr>
          <a:xfrm>
            <a:off x="8768185" y="4467020"/>
            <a:ext cx="684577" cy="338554"/>
          </a:xfrm>
          <a:prstGeom prst="rect">
            <a:avLst/>
          </a:prstGeom>
          <a:ln>
            <a:solidFill>
              <a:srgbClr val="FFC000"/>
            </a:solidFill>
          </a:ln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8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4 до 10 ПДК</a:t>
            </a:r>
            <a:endParaRPr lang="ru-RU" sz="800" b="1" dirty="0">
              <a:solidFill>
                <a:srgbClr val="E7E6E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6" name="Прямоугольник 175"/>
          <p:cNvSpPr/>
          <p:nvPr/>
        </p:nvSpPr>
        <p:spPr>
          <a:xfrm>
            <a:off x="8805767" y="5164356"/>
            <a:ext cx="700723" cy="369332"/>
          </a:xfrm>
          <a:prstGeom prst="rect">
            <a:avLst/>
          </a:prstGeom>
          <a:ln>
            <a:solidFill>
              <a:srgbClr val="DB7357"/>
            </a:solidFill>
          </a:ln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9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10 до 30 ПДК</a:t>
            </a:r>
            <a:endParaRPr lang="ru-RU" sz="900" b="1" dirty="0">
              <a:solidFill>
                <a:srgbClr val="E7E6E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7" name="Прямоугольник 176"/>
          <p:cNvSpPr/>
          <p:nvPr/>
        </p:nvSpPr>
        <p:spPr>
          <a:xfrm>
            <a:off x="8793972" y="5872287"/>
            <a:ext cx="706929" cy="353943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85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30 ПДК и более</a:t>
            </a:r>
            <a:endParaRPr lang="ru-RU" sz="850" b="1" dirty="0">
              <a:solidFill>
                <a:srgbClr val="E7E6E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3" name="Прямая со стрелкой 82">
            <a:extLst>
              <a:ext uri="{FF2B5EF4-FFF2-40B4-BE49-F238E27FC236}">
                <a16:creationId xmlns=""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V="1">
            <a:off x="9465550" y="3899740"/>
            <a:ext cx="228075" cy="1322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lgDash"/>
            <a:miter lim="800000"/>
            <a:tailEnd type="triangle"/>
          </a:ln>
          <a:effectLst/>
        </p:spPr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11939" y="3527031"/>
            <a:ext cx="758552" cy="758552"/>
          </a:xfrm>
          <a:prstGeom prst="rect">
            <a:avLst/>
          </a:prstGeom>
        </p:spPr>
      </p:pic>
      <p:sp>
        <p:nvSpPr>
          <p:cNvPr id="85" name="TextBox 84">
            <a:extLst>
              <a:ext uri="{FF2B5EF4-FFF2-40B4-BE49-F238E27FC236}">
                <a16:creationId xmlns="" xmlns:a16="http://schemas.microsoft.com/office/drawing/2014/main" id="{41EC6516-EC42-5212-6676-2DF9021885E2}"/>
              </a:ext>
            </a:extLst>
          </p:cNvPr>
          <p:cNvSpPr txBox="1"/>
          <p:nvPr/>
        </p:nvSpPr>
        <p:spPr>
          <a:xfrm>
            <a:off x="11436448" y="3776842"/>
            <a:ext cx="66880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800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рка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af-ZA" sz="800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M 8101</a:t>
            </a:r>
            <a:endParaRPr lang="ru-RU" sz="800" dirty="0">
              <a:solidFill>
                <a:srgbClr val="E7E6E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2" name="Прямая со стрелкой 151">
            <a:extLst>
              <a:ext uri="{FF2B5EF4-FFF2-40B4-BE49-F238E27FC236}">
                <a16:creationId xmlns=""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V="1">
            <a:off x="9474868" y="4619169"/>
            <a:ext cx="228075" cy="1322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lgDash"/>
            <a:miter lim="800000"/>
            <a:tailEnd type="triangle"/>
          </a:ln>
          <a:effectLst/>
        </p:spPr>
      </p:cxnSp>
      <p:cxnSp>
        <p:nvCxnSpPr>
          <p:cNvPr id="153" name="Прямая со стрелкой 152">
            <a:extLst>
              <a:ext uri="{FF2B5EF4-FFF2-40B4-BE49-F238E27FC236}">
                <a16:creationId xmlns=""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V="1">
            <a:off x="7964697" y="5361351"/>
            <a:ext cx="228075" cy="1322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lgDash"/>
            <a:miter lim="800000"/>
            <a:tailEnd type="triangle"/>
          </a:ln>
          <a:effectLst/>
        </p:spPr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81125" y="4307573"/>
            <a:ext cx="678711" cy="678711"/>
          </a:xfrm>
          <a:prstGeom prst="rect">
            <a:avLst/>
          </a:prstGeom>
        </p:spPr>
      </p:pic>
      <p:cxnSp>
        <p:nvCxnSpPr>
          <p:cNvPr id="154" name="Прямая со стрелкой 153">
            <a:extLst>
              <a:ext uri="{FF2B5EF4-FFF2-40B4-BE49-F238E27FC236}">
                <a16:creationId xmlns=""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V="1">
            <a:off x="10796165" y="4600934"/>
            <a:ext cx="228075" cy="1322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lgDash"/>
            <a:miter lim="800000"/>
            <a:tailEnd type="triangle"/>
          </a:ln>
          <a:effectLst/>
        </p:spPr>
      </p:cxnSp>
      <p:cxnSp>
        <p:nvCxnSpPr>
          <p:cNvPr id="87" name="Прямая со стрелкой 86">
            <a:extLst>
              <a:ext uri="{FF2B5EF4-FFF2-40B4-BE49-F238E27FC236}">
                <a16:creationId xmlns=""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V="1">
            <a:off x="10762607" y="3899740"/>
            <a:ext cx="228075" cy="1322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lgDash"/>
            <a:miter lim="800000"/>
            <a:tailEnd type="triangle"/>
          </a:ln>
          <a:effectLst/>
        </p:spPr>
      </p:cxnSp>
      <p:sp>
        <p:nvSpPr>
          <p:cNvPr id="156" name="TextBox 155">
            <a:extLst>
              <a:ext uri="{FF2B5EF4-FFF2-40B4-BE49-F238E27FC236}">
                <a16:creationId xmlns="" xmlns:a16="http://schemas.microsoft.com/office/drawing/2014/main" id="{41EC6516-EC42-5212-6676-2DF9021885E2}"/>
              </a:ext>
            </a:extLst>
          </p:cNvPr>
          <p:cNvSpPr txBox="1"/>
          <p:nvPr/>
        </p:nvSpPr>
        <p:spPr>
          <a:xfrm>
            <a:off x="11404362" y="4421522"/>
            <a:ext cx="67785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800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рка</a:t>
            </a:r>
            <a:r>
              <a:rPr lang="ru-RU" sz="8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af-ZA" sz="800" b="1" dirty="0" smtClean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800" b="1" dirty="0" smtClean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af-ZA" sz="800" b="1" dirty="0" smtClean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f-ZA" sz="8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122</a:t>
            </a:r>
            <a:endParaRPr lang="ru-RU" sz="800" b="1" dirty="0">
              <a:solidFill>
                <a:srgbClr val="E7E6E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9" name="Стрелка вниз 158"/>
          <p:cNvSpPr/>
          <p:nvPr/>
        </p:nvSpPr>
        <p:spPr>
          <a:xfrm>
            <a:off x="9669106" y="3238280"/>
            <a:ext cx="611833" cy="221494"/>
          </a:xfrm>
          <a:prstGeom prst="downArrow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61" name="Прямая со стрелкой 160">
            <a:extLst>
              <a:ext uri="{FF2B5EF4-FFF2-40B4-BE49-F238E27FC236}">
                <a16:creationId xmlns=""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V="1">
            <a:off x="7964698" y="4635753"/>
            <a:ext cx="228075" cy="1322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lgDash"/>
            <a:miter lim="800000"/>
            <a:tailEnd type="triangle"/>
          </a:ln>
          <a:effectLst/>
        </p:spPr>
      </p:cxnSp>
      <p:cxnSp>
        <p:nvCxnSpPr>
          <p:cNvPr id="162" name="Прямая со стрелкой 161">
            <a:extLst>
              <a:ext uri="{FF2B5EF4-FFF2-40B4-BE49-F238E27FC236}">
                <a16:creationId xmlns=""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V="1">
            <a:off x="9500901" y="5325812"/>
            <a:ext cx="228075" cy="1322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lgDash"/>
            <a:miter lim="800000"/>
            <a:tailEnd type="triangle"/>
          </a:ln>
          <a:effectLst/>
        </p:spPr>
      </p:cxnSp>
      <p:pic>
        <p:nvPicPr>
          <p:cNvPr id="13" name="Рисунок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38588" y="5029878"/>
            <a:ext cx="574297" cy="536968"/>
          </a:xfrm>
          <a:prstGeom prst="rect">
            <a:avLst/>
          </a:prstGeom>
        </p:spPr>
      </p:pic>
      <p:cxnSp>
        <p:nvCxnSpPr>
          <p:cNvPr id="163" name="Прямая со стрелкой 162">
            <a:extLst>
              <a:ext uri="{FF2B5EF4-FFF2-40B4-BE49-F238E27FC236}">
                <a16:creationId xmlns=""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V="1">
            <a:off x="10751562" y="5282099"/>
            <a:ext cx="228075" cy="1322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lgDash"/>
            <a:miter lim="800000"/>
            <a:tailEnd type="triangle"/>
          </a:ln>
          <a:effectLst/>
        </p:spPr>
      </p:cxnSp>
      <p:cxnSp>
        <p:nvCxnSpPr>
          <p:cNvPr id="166" name="Прямая со стрелкой 165">
            <a:extLst>
              <a:ext uri="{FF2B5EF4-FFF2-40B4-BE49-F238E27FC236}">
                <a16:creationId xmlns=""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V="1">
            <a:off x="7922752" y="6121763"/>
            <a:ext cx="228075" cy="1322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lgDash"/>
            <a:miter lim="800000"/>
            <a:tailEnd type="triangle"/>
          </a:ln>
          <a:effectLst/>
        </p:spPr>
      </p:cxnSp>
      <p:cxnSp>
        <p:nvCxnSpPr>
          <p:cNvPr id="167" name="Прямая со стрелкой 166">
            <a:extLst>
              <a:ext uri="{FF2B5EF4-FFF2-40B4-BE49-F238E27FC236}">
                <a16:creationId xmlns=""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V="1">
            <a:off x="9514966" y="6022866"/>
            <a:ext cx="228075" cy="1322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lgDash"/>
            <a:miter lim="800000"/>
            <a:tailEnd type="triangle"/>
          </a:ln>
          <a:effectLst/>
        </p:spPr>
      </p:cxnSp>
      <p:sp>
        <p:nvSpPr>
          <p:cNvPr id="175" name="TextBox 69">
            <a:extLst>
              <a:ext uri="{FF2B5EF4-FFF2-40B4-BE49-F238E27FC236}">
                <a16:creationId xmlns="" xmlns:a16="http://schemas.microsoft.com/office/drawing/2014/main" id="{4839714C-6E6C-89B8-D00F-EE130BC7EF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43041" y="5767688"/>
            <a:ext cx="1087471" cy="769441"/>
          </a:xfrm>
          <a:prstGeom prst="rect">
            <a:avLst/>
          </a:prstGeom>
          <a:solidFill>
            <a:srgbClr val="7799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1100" b="1" kern="0" dirty="0">
                <a:solidFill>
                  <a:prstClr val="white"/>
                </a:solidFill>
                <a:latin typeface="Calibri"/>
              </a:rPr>
              <a:t>Выдача полнолицевой маски с фильтром Р3</a:t>
            </a:r>
          </a:p>
        </p:txBody>
      </p:sp>
      <p:sp>
        <p:nvSpPr>
          <p:cNvPr id="178" name="TextBox 59">
            <a:extLst>
              <a:ext uri="{FF2B5EF4-FFF2-40B4-BE49-F238E27FC236}">
                <a16:creationId xmlns="" xmlns:a16="http://schemas.microsoft.com/office/drawing/2014/main" id="{2BC72A8A-E9CA-6834-E4A8-A997394787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35180" y="5058538"/>
            <a:ext cx="1111041" cy="600164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100" b="1" kern="0" dirty="0">
                <a:solidFill>
                  <a:schemeClr val="bg1"/>
                </a:solidFill>
                <a:latin typeface="Calibri"/>
              </a:rPr>
              <a:t>Выдача респиратора 3 класса (</a:t>
            </a:r>
            <a:r>
              <a:rPr lang="af-ZA" sz="1100" b="1" kern="0" dirty="0">
                <a:solidFill>
                  <a:schemeClr val="bg1"/>
                </a:solidFill>
                <a:latin typeface="Calibri"/>
              </a:rPr>
              <a:t>FFP</a:t>
            </a:r>
            <a:r>
              <a:rPr lang="ru-RU" sz="1100" b="1" kern="0" dirty="0">
                <a:solidFill>
                  <a:schemeClr val="bg1"/>
                </a:solidFill>
                <a:latin typeface="Calibri"/>
              </a:rPr>
              <a:t>3</a:t>
            </a:r>
            <a:r>
              <a:rPr lang="af-ZA" sz="1100" b="1" kern="0" dirty="0">
                <a:solidFill>
                  <a:schemeClr val="bg1"/>
                </a:solidFill>
                <a:latin typeface="Calibri"/>
              </a:rPr>
              <a:t>)</a:t>
            </a:r>
            <a:endParaRPr lang="ru-RU" altLang="ru-RU" sz="11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180" name="TextBox 58">
            <a:extLst>
              <a:ext uri="{FF2B5EF4-FFF2-40B4-BE49-F238E27FC236}">
                <a16:creationId xmlns="" xmlns:a16="http://schemas.microsoft.com/office/drawing/2014/main" id="{D9208072-5C95-4DEC-C831-AB0A97819F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33662" y="4332308"/>
            <a:ext cx="1089596" cy="600164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1100" b="1" kern="0" dirty="0">
                <a:solidFill>
                  <a:srgbClr val="FFFFFF"/>
                </a:solidFill>
              </a:rPr>
              <a:t>Выдача респиратора 2 класса (FFP2)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83140" y="5720012"/>
            <a:ext cx="872341" cy="872341"/>
          </a:xfrm>
          <a:prstGeom prst="rect">
            <a:avLst/>
          </a:prstGeom>
        </p:spPr>
      </p:pic>
      <p:cxnSp>
        <p:nvCxnSpPr>
          <p:cNvPr id="171" name="Прямая со стрелкой 170">
            <a:extLst>
              <a:ext uri="{FF2B5EF4-FFF2-40B4-BE49-F238E27FC236}">
                <a16:creationId xmlns=""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V="1">
            <a:off x="10857219" y="6054378"/>
            <a:ext cx="228075" cy="13221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lgDash"/>
            <a:miter lim="800000"/>
            <a:tailEnd type="triangle"/>
          </a:ln>
          <a:effectLst/>
        </p:spPr>
      </p:cxnSp>
      <p:sp>
        <p:nvSpPr>
          <p:cNvPr id="182" name="TextBox 58">
            <a:extLst>
              <a:ext uri="{FF2B5EF4-FFF2-40B4-BE49-F238E27FC236}">
                <a16:creationId xmlns="" xmlns:a16="http://schemas.microsoft.com/office/drawing/2014/main" id="{D9208072-5C95-4DEC-C831-AB0A97819F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06569" y="3602223"/>
            <a:ext cx="1089596" cy="600164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1100" b="1" kern="0" dirty="0">
                <a:solidFill>
                  <a:srgbClr val="FFFFFF"/>
                </a:solidFill>
              </a:rPr>
              <a:t>Выдача респиратора 1 класса (FFP1)</a:t>
            </a:r>
          </a:p>
        </p:txBody>
      </p:sp>
      <p:sp>
        <p:nvSpPr>
          <p:cNvPr id="184" name="Прямоугольник: скругленные углы 2">
            <a:extLst>
              <a:ext uri="{FF2B5EF4-FFF2-40B4-BE49-F238E27FC236}">
                <a16:creationId xmlns=""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4951131" y="1344944"/>
            <a:ext cx="7160100" cy="5398167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187" name="Схема 186">
            <a:extLst>
              <a:ext uri="{FF2B5EF4-FFF2-40B4-BE49-F238E27FC236}">
                <a16:creationId xmlns="" xmlns:a16="http://schemas.microsoft.com/office/drawing/2014/main" id="{8ED07D42-0193-0EBB-8D9A-611783EE123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186618"/>
              </p:ext>
            </p:extLst>
          </p:nvPr>
        </p:nvGraphicFramePr>
        <p:xfrm>
          <a:off x="46924" y="2592396"/>
          <a:ext cx="3542683" cy="18104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cxnSp>
        <p:nvCxnSpPr>
          <p:cNvPr id="190" name="Прямая со стрелкой 189">
            <a:extLst>
              <a:ext uri="{FF2B5EF4-FFF2-40B4-BE49-F238E27FC236}">
                <a16:creationId xmlns=""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>
            <a:off x="2062675" y="4529336"/>
            <a:ext cx="1299" cy="217636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lgDash"/>
            <a:miter lim="800000"/>
            <a:tailEnd type="triangle"/>
          </a:ln>
          <a:effectLst/>
        </p:spPr>
      </p:cxnSp>
      <p:sp>
        <p:nvSpPr>
          <p:cNvPr id="191" name="Прямоугольник: скругленные углы 2">
            <a:extLst>
              <a:ext uri="{FF2B5EF4-FFF2-40B4-BE49-F238E27FC236}">
                <a16:creationId xmlns=""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89721" y="1352125"/>
            <a:ext cx="3881324" cy="3096494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4" name="TextBox 61">
            <a:extLst>
              <a:ext uri="{FF2B5EF4-FFF2-40B4-BE49-F238E27FC236}">
                <a16:creationId xmlns="" xmlns:a16="http://schemas.microsoft.com/office/drawing/2014/main" id="{3C1108C6-5AAD-A8D0-E267-240E2F9900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885" y="1689416"/>
            <a:ext cx="395263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2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нифицированный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2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отраслевой подход - каждой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2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и по отрасли соответствует СИЗ</a:t>
            </a:r>
          </a:p>
        </p:txBody>
      </p:sp>
      <p:sp>
        <p:nvSpPr>
          <p:cNvPr id="204" name="TextBox 58">
            <a:extLst>
              <a:ext uri="{FF2B5EF4-FFF2-40B4-BE49-F238E27FC236}">
                <a16:creationId xmlns="" xmlns:a16="http://schemas.microsoft.com/office/drawing/2014/main" id="{D9208072-5C95-4DEC-C831-AB0A97819F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3126" y="5638931"/>
            <a:ext cx="3963827" cy="4308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дача респиратора одного вида</a:t>
            </a:r>
            <a:r>
              <a:rPr lang="en-US" alt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всех степеней ВУТ не зависимо от кратности ПДК ВХВ </a:t>
            </a:r>
            <a:r>
              <a:rPr lang="ru-RU" alt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е</a:t>
            </a:r>
          </a:p>
        </p:txBody>
      </p:sp>
      <p:cxnSp>
        <p:nvCxnSpPr>
          <p:cNvPr id="239" name="Прямая со стрелкой 238">
            <a:extLst>
              <a:ext uri="{FF2B5EF4-FFF2-40B4-BE49-F238E27FC236}">
                <a16:creationId xmlns="" xmlns:a16="http://schemas.microsoft.com/office/drawing/2014/main" id="{2DDA5B70-179C-8D8D-6D69-428F258FBB46}"/>
              </a:ext>
            </a:extLst>
          </p:cNvPr>
          <p:cNvCxnSpPr>
            <a:cxnSpLocks/>
          </p:cNvCxnSpPr>
          <p:nvPr/>
        </p:nvCxnSpPr>
        <p:spPr>
          <a:xfrm flipH="1" flipV="1">
            <a:off x="2062675" y="5293347"/>
            <a:ext cx="2096" cy="197780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lgDash"/>
            <a:miter lim="800000"/>
            <a:tailEnd type="triangle"/>
          </a:ln>
          <a:effectLst/>
        </p:spPr>
      </p:cxnSp>
      <p:sp>
        <p:nvSpPr>
          <p:cNvPr id="164" name="TextBox 163">
            <a:extLst>
              <a:ext uri="{FF2B5EF4-FFF2-40B4-BE49-F238E27FC236}">
                <a16:creationId xmlns="" xmlns:a16="http://schemas.microsoft.com/office/drawing/2014/main" id="{41EC6516-EC42-5212-6676-2DF9021885E2}"/>
              </a:ext>
            </a:extLst>
          </p:cNvPr>
          <p:cNvSpPr txBox="1"/>
          <p:nvPr/>
        </p:nvSpPr>
        <p:spPr>
          <a:xfrm>
            <a:off x="11467777" y="5142275"/>
            <a:ext cx="69992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800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рка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af-ZA" sz="800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ra 9332</a:t>
            </a:r>
            <a:endParaRPr lang="ru-RU" sz="800" dirty="0">
              <a:solidFill>
                <a:srgbClr val="E7E6E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0" name="TextBox 169">
            <a:extLst>
              <a:ext uri="{FF2B5EF4-FFF2-40B4-BE49-F238E27FC236}">
                <a16:creationId xmlns="" xmlns:a16="http://schemas.microsoft.com/office/drawing/2014/main" id="{41EC6516-EC42-5212-6676-2DF9021885E2}"/>
              </a:ext>
            </a:extLst>
          </p:cNvPr>
          <p:cNvSpPr txBox="1"/>
          <p:nvPr/>
        </p:nvSpPr>
        <p:spPr>
          <a:xfrm>
            <a:off x="11436448" y="5912516"/>
            <a:ext cx="820737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рка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М 6700</a:t>
            </a:r>
          </a:p>
        </p:txBody>
      </p:sp>
      <p:cxnSp>
        <p:nvCxnSpPr>
          <p:cNvPr id="110" name="Прямая соединительная линия 109">
            <a:extLst>
              <a:ext uri="{FF2B5EF4-FFF2-40B4-BE49-F238E27FC236}">
                <a16:creationId xmlns="" xmlns:a16="http://schemas.microsoft.com/office/drawing/2014/main" id="{69CE0D03-021E-1AE6-D55E-2BCA59863ACD}"/>
              </a:ext>
            </a:extLst>
          </p:cNvPr>
          <p:cNvCxnSpPr>
            <a:cxnSpLocks/>
          </p:cNvCxnSpPr>
          <p:nvPr/>
        </p:nvCxnSpPr>
        <p:spPr>
          <a:xfrm>
            <a:off x="339159" y="681647"/>
            <a:ext cx="111045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7277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TextBox 20"/>
          <p:cNvSpPr txBox="1">
            <a:spLocks noChangeArrowheads="1"/>
          </p:cNvSpPr>
          <p:nvPr/>
        </p:nvSpPr>
        <p:spPr bwMode="auto">
          <a:xfrm>
            <a:off x="11877675" y="7437438"/>
            <a:ext cx="3063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kk-KZ" altLang="ru-RU" sz="1000">
                <a:solidFill>
                  <a:srgbClr val="000000"/>
                </a:solidFill>
                <a:latin typeface="Arial Narrow" panose="020B0606020202030204" pitchFamily="34" charset="0"/>
              </a:rPr>
              <a:t>14</a:t>
            </a:r>
            <a:endParaRPr lang="ru-RU" altLang="ru-RU" sz="100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3" name="TextBox 33"/>
          <p:cNvSpPr txBox="1">
            <a:spLocks noChangeArrowheads="1"/>
          </p:cNvSpPr>
          <p:nvPr/>
        </p:nvSpPr>
        <p:spPr bwMode="auto">
          <a:xfrm>
            <a:off x="11411841" y="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</a:p>
        </p:txBody>
      </p:sp>
      <p:grpSp>
        <p:nvGrpSpPr>
          <p:cNvPr id="24" name="Группа 34"/>
          <p:cNvGrpSpPr>
            <a:grpSpLocks/>
          </p:cNvGrpSpPr>
          <p:nvPr/>
        </p:nvGrpSpPr>
        <p:grpSpPr bwMode="auto">
          <a:xfrm>
            <a:off x="13161" y="675346"/>
            <a:ext cx="12192000" cy="46037"/>
            <a:chOff x="0" y="661986"/>
            <a:chExt cx="12192000" cy="45720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0" y="661986"/>
              <a:ext cx="10263187" cy="45720"/>
            </a:xfrm>
            <a:prstGeom prst="rect">
              <a:avLst/>
            </a:prstGeom>
            <a:solidFill>
              <a:srgbClr val="3E22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10863262" y="661986"/>
              <a:ext cx="1328738" cy="45720"/>
            </a:xfrm>
            <a:prstGeom prst="rect">
              <a:avLst/>
            </a:prstGeom>
            <a:solidFill>
              <a:srgbClr val="7371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" name="TextBox 22">
            <a:extLst>
              <a:ext uri="{FF2B5EF4-FFF2-40B4-BE49-F238E27FC236}">
                <a16:creationId xmlns="" xmlns:a16="http://schemas.microsoft.com/office/drawing/2014/main" id="{1F55EADD-8A59-C63B-2307-A6C92F4C9A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561" y="48154"/>
            <a:ext cx="7921408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None/>
              <a:defRPr/>
            </a:pPr>
            <a:r>
              <a:rPr lang="ru-RU" sz="1800" spc="-1" dirty="0">
                <a:solidFill>
                  <a:srgbClr val="0070C0"/>
                </a:solidFill>
                <a:uFill>
                  <a:solidFill>
                    <a:srgbClr val="FFFFFF"/>
                  </a:solidFill>
                </a:uFill>
                <a:latin typeface="Century Gothic" panose="020B0502020202020204" pitchFamily="34" charset="0"/>
                <a:cs typeface="Arial" pitchFamily="34" charset="0"/>
              </a:rPr>
              <a:t>ПЕРЕЧЕНЬ СПЕЦИАЛЬНОЙ ОДЕЖДЫ И ДРУГИХ СРЕДСТВ ИНДИВИДУАЛЬНОЙ ЗАЩИТЫ РАБОТНИКОВ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57908" y="810084"/>
            <a:ext cx="10714892" cy="46166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lvl="0"/>
            <a:r>
              <a:rPr lang="ru-RU" sz="1200" b="1" dirty="0">
                <a:solidFill>
                  <a:srgbClr val="3C4388"/>
                </a:solidFill>
              </a:rPr>
              <a:t>Перечень СИЗ </a:t>
            </a:r>
            <a:r>
              <a:rPr lang="ru-RU" sz="1200" dirty="0"/>
              <a:t>- список средств индивидуальной защиты, отвечающих требованиям национальных и международных стандартов, норм, а также степени профессионального риска в зависимости от вредных производственных факторов с указанием сроков носки (эксплуатации</a:t>
            </a:r>
            <a:r>
              <a:rPr lang="ru-RU" sz="1200" dirty="0" smtClean="0"/>
              <a:t>)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156187" y="1327107"/>
          <a:ext cx="11965475" cy="264701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32726">
                  <a:extLst>
                    <a:ext uri="{9D8B030D-6E8A-4147-A177-3AD203B41FA5}">
                      <a16:colId xmlns="" xmlns:a16="http://schemas.microsoft.com/office/drawing/2014/main" val="4270255422"/>
                    </a:ext>
                  </a:extLst>
                </a:gridCol>
                <a:gridCol w="2016133">
                  <a:extLst>
                    <a:ext uri="{9D8B030D-6E8A-4147-A177-3AD203B41FA5}">
                      <a16:colId xmlns="" xmlns:a16="http://schemas.microsoft.com/office/drawing/2014/main" val="413389228"/>
                    </a:ext>
                  </a:extLst>
                </a:gridCol>
                <a:gridCol w="1334526">
                  <a:extLst>
                    <a:ext uri="{9D8B030D-6E8A-4147-A177-3AD203B41FA5}">
                      <a16:colId xmlns="" xmlns:a16="http://schemas.microsoft.com/office/drawing/2014/main" val="3042391986"/>
                    </a:ext>
                  </a:extLst>
                </a:gridCol>
                <a:gridCol w="1334526">
                  <a:extLst>
                    <a:ext uri="{9D8B030D-6E8A-4147-A177-3AD203B41FA5}">
                      <a16:colId xmlns="" xmlns:a16="http://schemas.microsoft.com/office/drawing/2014/main" val="1643247726"/>
                    </a:ext>
                  </a:extLst>
                </a:gridCol>
                <a:gridCol w="1334526">
                  <a:extLst>
                    <a:ext uri="{9D8B030D-6E8A-4147-A177-3AD203B41FA5}">
                      <a16:colId xmlns="" xmlns:a16="http://schemas.microsoft.com/office/drawing/2014/main" val="1832475503"/>
                    </a:ext>
                  </a:extLst>
                </a:gridCol>
                <a:gridCol w="1334526">
                  <a:extLst>
                    <a:ext uri="{9D8B030D-6E8A-4147-A177-3AD203B41FA5}">
                      <a16:colId xmlns="" xmlns:a16="http://schemas.microsoft.com/office/drawing/2014/main" val="917721493"/>
                    </a:ext>
                  </a:extLst>
                </a:gridCol>
                <a:gridCol w="1578512">
                  <a:extLst>
                    <a:ext uri="{9D8B030D-6E8A-4147-A177-3AD203B41FA5}">
                      <a16:colId xmlns="" xmlns:a16="http://schemas.microsoft.com/office/drawing/2014/main" val="55789105"/>
                    </a:ext>
                  </a:extLst>
                </a:gridCol>
              </a:tblGrid>
              <a:tr h="267231">
                <a:tc rowSpan="3"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effectLst/>
                        </a:rPr>
                        <a:t>Код </a:t>
                      </a:r>
                      <a:r>
                        <a:rPr lang="ru-RU" sz="1600" dirty="0" smtClean="0">
                          <a:effectLst/>
                        </a:rPr>
                        <a:t>фактора*</a:t>
                      </a:r>
                      <a:endParaRPr lang="ru-RU" sz="1600" dirty="0">
                        <a:effectLst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effectLst/>
                        </a:rPr>
                        <a:t>Нормы выдачи средств индивидуальной защиты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11451309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b="1" dirty="0">
                          <a:effectLst/>
                        </a:rPr>
                        <a:t>Уровень защиты СИЗ</a:t>
                      </a:r>
                      <a:endParaRPr lang="ru-RU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effectLst/>
                        </a:rPr>
                        <a:t>-</a:t>
                      </a:r>
                      <a:endParaRPr lang="ru-RU" sz="16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effectLst/>
                        </a:rPr>
                        <a:t>D</a:t>
                      </a:r>
                      <a:endParaRPr lang="ru-RU" sz="16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effectLst/>
                        </a:rPr>
                        <a:t>C</a:t>
                      </a:r>
                      <a:endParaRPr lang="ru-RU" sz="16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effectLst/>
                        </a:rPr>
                        <a:t>B</a:t>
                      </a:r>
                      <a:endParaRPr lang="ru-RU" sz="16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effectLst/>
                        </a:rPr>
                        <a:t>A</a:t>
                      </a:r>
                      <a:endParaRPr lang="ru-RU" sz="16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840654929"/>
                  </a:ext>
                </a:extLst>
              </a:tr>
              <a:tr h="44246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dirty="0">
                          <a:effectLst/>
                        </a:rPr>
                        <a:t>Степень профессионального риска</a:t>
                      </a:r>
                      <a:endParaRPr lang="ru-RU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effectLst/>
                        </a:rPr>
                        <a:t>1</a:t>
                      </a:r>
                    </a:p>
                    <a:p>
                      <a:pPr algn="ctr"/>
                      <a:r>
                        <a:rPr lang="ru-RU" sz="1400" b="1" dirty="0">
                          <a:effectLst/>
                        </a:rPr>
                        <a:t>допустимый</a:t>
                      </a:r>
                      <a:endParaRPr lang="ru-RU" sz="14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effectLst/>
                        </a:rPr>
                        <a:t>2</a:t>
                      </a:r>
                    </a:p>
                    <a:p>
                      <a:pPr algn="ctr"/>
                      <a:r>
                        <a:rPr lang="ru-RU" sz="1400" b="1" dirty="0">
                          <a:effectLst/>
                        </a:rPr>
                        <a:t>низкий</a:t>
                      </a:r>
                      <a:endParaRPr lang="ru-RU" sz="14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effectLst/>
                        </a:rPr>
                        <a:t>3</a:t>
                      </a:r>
                    </a:p>
                    <a:p>
                      <a:pPr algn="ctr"/>
                      <a:r>
                        <a:rPr lang="ru-RU" sz="1400" b="1" dirty="0">
                          <a:effectLst/>
                        </a:rPr>
                        <a:t>средний</a:t>
                      </a:r>
                      <a:endParaRPr lang="ru-RU" sz="14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effectLst/>
                        </a:rPr>
                        <a:t>4</a:t>
                      </a:r>
                    </a:p>
                    <a:p>
                      <a:pPr algn="ctr"/>
                      <a:r>
                        <a:rPr lang="ru-RU" sz="1400" b="1" dirty="0">
                          <a:effectLst/>
                        </a:rPr>
                        <a:t>высокий</a:t>
                      </a:r>
                      <a:endParaRPr lang="ru-RU" sz="14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effectLst/>
                        </a:rPr>
                        <a:t>5</a:t>
                      </a:r>
                    </a:p>
                    <a:p>
                      <a:pPr algn="ctr"/>
                      <a:r>
                        <a:rPr lang="ru-RU" sz="1400" b="1" dirty="0">
                          <a:effectLst/>
                        </a:rPr>
                        <a:t>очень высокий</a:t>
                      </a:r>
                      <a:endParaRPr lang="ru-RU" sz="14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7018086"/>
                  </a:ext>
                </a:extLst>
              </a:tr>
              <a:tr h="164806">
                <a:tc gridSpan="7"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01 ПРОИЗВОДСТВЕННЫЕ ФАКТОРЫ ФИЗИЧЕСКОЙ ПРИРОДЫ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682140676"/>
                  </a:ext>
                </a:extLst>
              </a:tr>
              <a:tr h="164806">
                <a:tc gridSpan="7"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01.1 </a:t>
                      </a:r>
                      <a:r>
                        <a:rPr lang="ru-RU" sz="1100" dirty="0" err="1">
                          <a:solidFill>
                            <a:srgbClr val="3C4388"/>
                          </a:solidFill>
                          <a:effectLst/>
                        </a:rPr>
                        <a:t>Виброакустические</a:t>
                      </a:r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 факторы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228663798"/>
                  </a:ext>
                </a:extLst>
              </a:tr>
              <a:tr h="164806">
                <a:tc gridSpan="7">
                  <a:txBody>
                    <a:bodyPr/>
                    <a:lstStyle/>
                    <a:p>
                      <a:r>
                        <a:rPr lang="ru-RU" sz="1100" dirty="0" smtClean="0">
                          <a:solidFill>
                            <a:srgbClr val="3C4388"/>
                          </a:solidFill>
                          <a:effectLst/>
                        </a:rPr>
                        <a:t>01.1.1</a:t>
                      </a:r>
                      <a:r>
                        <a:rPr lang="ru-RU" sz="1100" baseline="0" dirty="0" smtClean="0">
                          <a:solidFill>
                            <a:srgbClr val="3C4388"/>
                          </a:solidFill>
                          <a:effectLst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3C4388"/>
                          </a:solidFill>
                          <a:effectLst/>
                        </a:rPr>
                        <a:t>Производственный </a:t>
                      </a:r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шум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721391510"/>
                  </a:ext>
                </a:extLst>
              </a:tr>
              <a:tr h="118595">
                <a:tc rowSpan="4"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01.1.1.1 Шум постоянный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</a:rPr>
                        <a:t>СИЗ органов слуха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</a:rPr>
                        <a:t>-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err="1">
                          <a:solidFill>
                            <a:schemeClr val="tx1"/>
                          </a:solidFill>
                          <a:effectLst/>
                        </a:rPr>
                        <a:t>беруши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</a:rPr>
                        <a:t>наушники </a:t>
                      </a:r>
                      <a:r>
                        <a:rPr lang="ru-RU" sz="1100" b="1" dirty="0" err="1" smtClean="0">
                          <a:solidFill>
                            <a:schemeClr val="tx1"/>
                          </a:solidFill>
                          <a:effectLst/>
                        </a:rPr>
                        <a:t>противошумные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</a:rPr>
                        <a:t>наушники </a:t>
                      </a:r>
                      <a:r>
                        <a:rPr lang="ru-RU" sz="1100" b="1" dirty="0" err="1" smtClean="0">
                          <a:solidFill>
                            <a:schemeClr val="tx1"/>
                          </a:solidFill>
                          <a:effectLst/>
                        </a:rPr>
                        <a:t>противошумные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</a:rPr>
                        <a:t>наушники с активным шумоподавлением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8240482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Нормы выдачи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>
                          <a:solidFill>
                            <a:srgbClr val="3C4388"/>
                          </a:solidFill>
                          <a:effectLst/>
                        </a:rPr>
                        <a:t> </a:t>
                      </a:r>
                      <a:endParaRPr lang="ru-RU" sz="110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>
                          <a:solidFill>
                            <a:srgbClr val="3C4388"/>
                          </a:solidFill>
                          <a:effectLst/>
                        </a:rPr>
                        <a:t>1 изделие</a:t>
                      </a:r>
                      <a:endParaRPr lang="ru-RU" sz="110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1 изделие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1 изделие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1 изделие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06285106"/>
                  </a:ext>
                </a:extLst>
              </a:tr>
              <a:tr h="16480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Сроки носки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>
                          <a:solidFill>
                            <a:srgbClr val="3C4388"/>
                          </a:solidFill>
                          <a:effectLst/>
                        </a:rPr>
                        <a:t> </a:t>
                      </a:r>
                      <a:endParaRPr lang="ru-RU" sz="110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>
                          <a:solidFill>
                            <a:srgbClr val="3C4388"/>
                          </a:solidFill>
                          <a:effectLst/>
                        </a:rPr>
                        <a:t>до износа</a:t>
                      </a:r>
                      <a:endParaRPr lang="ru-RU" sz="110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>
                          <a:solidFill>
                            <a:srgbClr val="3C4388"/>
                          </a:solidFill>
                          <a:effectLst/>
                        </a:rPr>
                        <a:t>до износа</a:t>
                      </a:r>
                      <a:endParaRPr lang="ru-RU" sz="110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до износа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до износа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87927837"/>
                  </a:ext>
                </a:extLst>
              </a:tr>
              <a:tr h="16480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Шифр идентификатор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>
                          <a:solidFill>
                            <a:srgbClr val="3C4388"/>
                          </a:solidFill>
                          <a:effectLst/>
                        </a:rPr>
                        <a:t>-</a:t>
                      </a:r>
                      <a:endParaRPr lang="ru-RU" sz="110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>
                          <a:solidFill>
                            <a:srgbClr val="3C4388"/>
                          </a:solidFill>
                          <a:effectLst/>
                        </a:rPr>
                        <a:t>01.1.1.1(D)I</a:t>
                      </a:r>
                      <a:r>
                        <a:rPr lang="ru-RU" sz="1100" baseline="30000">
                          <a:solidFill>
                            <a:srgbClr val="3C4388"/>
                          </a:solidFill>
                          <a:effectLst/>
                        </a:rPr>
                        <a:t>4</a:t>
                      </a:r>
                      <a:r>
                        <a:rPr lang="ru-RU" sz="1100">
                          <a:solidFill>
                            <a:srgbClr val="3C4388"/>
                          </a:solidFill>
                          <a:effectLst/>
                        </a:rPr>
                        <a:t>1</a:t>
                      </a:r>
                      <a:endParaRPr lang="ru-RU" sz="110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>
                          <a:solidFill>
                            <a:srgbClr val="3C4388"/>
                          </a:solidFill>
                          <a:effectLst/>
                        </a:rPr>
                        <a:t>01.1.1.1(C)I</a:t>
                      </a:r>
                      <a:r>
                        <a:rPr lang="ru-RU" sz="1100" baseline="30000">
                          <a:solidFill>
                            <a:srgbClr val="3C4388"/>
                          </a:solidFill>
                          <a:effectLst/>
                        </a:rPr>
                        <a:t>4</a:t>
                      </a:r>
                      <a:r>
                        <a:rPr lang="ru-RU" sz="1100">
                          <a:solidFill>
                            <a:srgbClr val="3C4388"/>
                          </a:solidFill>
                          <a:effectLst/>
                        </a:rPr>
                        <a:t>2</a:t>
                      </a:r>
                      <a:endParaRPr lang="ru-RU" sz="110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01.1.1.1(B)</a:t>
                      </a:r>
                      <a:r>
                        <a:rPr lang="ru-RU" sz="1100" dirty="0" err="1">
                          <a:solidFill>
                            <a:srgbClr val="3C4388"/>
                          </a:solidFill>
                          <a:effectLst/>
                        </a:rPr>
                        <a:t>I</a:t>
                      </a:r>
                      <a:r>
                        <a:rPr lang="ru-RU" sz="1100" baseline="30000" dirty="0" err="1">
                          <a:solidFill>
                            <a:srgbClr val="3C4388"/>
                          </a:solidFill>
                          <a:effectLst/>
                        </a:rPr>
                        <a:t>4</a:t>
                      </a:r>
                      <a:r>
                        <a:rPr lang="ru-RU" sz="1100" dirty="0" err="1">
                          <a:solidFill>
                            <a:srgbClr val="3C4388"/>
                          </a:solidFill>
                          <a:effectLst/>
                        </a:rPr>
                        <a:t>3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 </a:t>
                      </a:r>
                      <a:r>
                        <a:rPr lang="ru-RU" sz="1100" dirty="0" smtClean="0">
                          <a:solidFill>
                            <a:srgbClr val="3C4388"/>
                          </a:solidFill>
                          <a:effectLst/>
                        </a:rPr>
                        <a:t>01.1.1.1(А)</a:t>
                      </a:r>
                      <a:r>
                        <a:rPr lang="ru-RU" sz="1100" dirty="0" err="1" smtClean="0">
                          <a:solidFill>
                            <a:srgbClr val="3C4388"/>
                          </a:solidFill>
                          <a:effectLst/>
                        </a:rPr>
                        <a:t>I</a:t>
                      </a:r>
                      <a:r>
                        <a:rPr lang="ru-RU" sz="1100" baseline="30000" dirty="0" err="1" smtClean="0">
                          <a:solidFill>
                            <a:srgbClr val="3C4388"/>
                          </a:solidFill>
                          <a:effectLst/>
                        </a:rPr>
                        <a:t>4</a:t>
                      </a:r>
                      <a:r>
                        <a:rPr lang="ru-RU" sz="1100" baseline="0" dirty="0" err="1" smtClean="0">
                          <a:solidFill>
                            <a:srgbClr val="3C4388"/>
                          </a:solidFill>
                          <a:effectLst/>
                        </a:rPr>
                        <a:t>4</a:t>
                      </a:r>
                      <a:endParaRPr lang="ru-RU" sz="1100" baseline="0" dirty="0" smtClean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/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502437394"/>
                  </a:ext>
                </a:extLst>
              </a:tr>
              <a:tr h="0">
                <a:tc gridSpan="7">
                  <a:txBody>
                    <a:bodyPr/>
                    <a:lstStyle/>
                    <a:p>
                      <a:r>
                        <a:rPr lang="ru-RU" sz="1100" b="0" i="1" dirty="0" smtClean="0">
                          <a:effectLst/>
                          <a:latin typeface="Calibri" panose="020F0502020204030204" pitchFamily="34" charset="0"/>
                        </a:rPr>
                        <a:t>*согласно</a:t>
                      </a:r>
                      <a:r>
                        <a:rPr lang="ru-RU" sz="1100" b="0" i="1" baseline="0" dirty="0" smtClean="0">
                          <a:effectLst/>
                          <a:latin typeface="Calibri" panose="020F0502020204030204" pitchFamily="34" charset="0"/>
                        </a:rPr>
                        <a:t> классификации ВПФ , приведенной из Правилах управления профессиональными рисками</a:t>
                      </a:r>
                      <a:endParaRPr lang="ru-RU" sz="1100" b="0" i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4133045998"/>
                  </a:ext>
                </a:extLst>
              </a:tr>
            </a:tbl>
          </a:graphicData>
        </a:graphic>
      </p:graphicFrame>
      <p:graphicFrame>
        <p:nvGraphicFramePr>
          <p:cNvPr id="11" name="Таблица 10"/>
          <p:cNvGraphicFramePr>
            <a:graphicFrameLocks noGrp="1"/>
          </p:cNvGraphicFramePr>
          <p:nvPr>
            <p:extLst/>
          </p:nvPr>
        </p:nvGraphicFramePr>
        <p:xfrm>
          <a:off x="6213232" y="4149917"/>
          <a:ext cx="5842978" cy="264008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60513">
                  <a:extLst>
                    <a:ext uri="{9D8B030D-6E8A-4147-A177-3AD203B41FA5}">
                      <a16:colId xmlns="" xmlns:a16="http://schemas.microsoft.com/office/drawing/2014/main" val="4270255422"/>
                    </a:ext>
                  </a:extLst>
                </a:gridCol>
                <a:gridCol w="1617154">
                  <a:extLst>
                    <a:ext uri="{9D8B030D-6E8A-4147-A177-3AD203B41FA5}">
                      <a16:colId xmlns="" xmlns:a16="http://schemas.microsoft.com/office/drawing/2014/main" val="2823003091"/>
                    </a:ext>
                  </a:extLst>
                </a:gridCol>
                <a:gridCol w="2465311">
                  <a:extLst>
                    <a:ext uri="{9D8B030D-6E8A-4147-A177-3AD203B41FA5}">
                      <a16:colId xmlns="" xmlns:a16="http://schemas.microsoft.com/office/drawing/2014/main" val="2530809151"/>
                    </a:ext>
                  </a:extLst>
                </a:gridCol>
              </a:tblGrid>
              <a:tr h="331535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effectLst/>
                        </a:rPr>
                        <a:t>Код </a:t>
                      </a:r>
                      <a:r>
                        <a:rPr lang="ru-RU" sz="1400" dirty="0" smtClean="0">
                          <a:effectLst/>
                        </a:rPr>
                        <a:t>фактора*</a:t>
                      </a:r>
                      <a:endParaRPr lang="ru-RU" sz="1400" dirty="0">
                        <a:effectLst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effectLst/>
                        </a:rPr>
                        <a:t>Нормы </a:t>
                      </a:r>
                      <a:r>
                        <a:rPr lang="ru-RU" sz="1400" dirty="0">
                          <a:effectLst/>
                        </a:rPr>
                        <a:t>выдачи средств индивидуальной защиты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114513095"/>
                  </a:ext>
                </a:extLst>
              </a:tr>
              <a:tr h="165767">
                <a:tc gridSpan="3">
                  <a:txBody>
                    <a:bodyPr/>
                    <a:lstStyle/>
                    <a:p>
                      <a:r>
                        <a:rPr lang="ru-RU" sz="1100" dirty="0" smtClean="0">
                          <a:solidFill>
                            <a:srgbClr val="3C4388"/>
                          </a:solidFill>
                          <a:effectLst/>
                          <a:latin typeface="Calibri" panose="020F0502020204030204" pitchFamily="34" charset="0"/>
                        </a:rPr>
                        <a:t>06 ОБЩИЕ ПРОИЗВОДСТВЕННЫЕ ЗАГРЯЗНЕНИЯ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629304124"/>
                  </a:ext>
                </a:extLst>
              </a:tr>
              <a:tr h="177384">
                <a:tc rowSpan="12">
                  <a:txBody>
                    <a:bodyPr/>
                    <a:lstStyle/>
                    <a:p>
                      <a:r>
                        <a:rPr lang="ru-RU" sz="1100" dirty="0" smtClean="0">
                          <a:solidFill>
                            <a:srgbClr val="3C4388"/>
                          </a:solidFill>
                          <a:effectLst/>
                          <a:latin typeface="Calibri" panose="020F0502020204030204" pitchFamily="34" charset="0"/>
                        </a:rPr>
                        <a:t>06.3 Нетоксичная пыль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ИЗ тела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Халат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из хлопчатобумажной ткан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963475381"/>
                  </a:ext>
                </a:extLst>
              </a:tr>
              <a:tr h="177384">
                <a:tc vMerge="1">
                  <a:txBody>
                    <a:bodyPr/>
                    <a:lstStyle/>
                    <a:p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Нормы выдачи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200" dirty="0">
                          <a:solidFill>
                            <a:srgbClr val="3C438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изделие</a:t>
                      </a: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01713323"/>
                  </a:ext>
                </a:extLst>
              </a:tr>
              <a:tr h="177384">
                <a:tc vMerge="1">
                  <a:txBody>
                    <a:bodyPr/>
                    <a:lstStyle/>
                    <a:p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Сроки носки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200" dirty="0">
                          <a:solidFill>
                            <a:srgbClr val="3C438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 износа</a:t>
                      </a: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201585482"/>
                  </a:ext>
                </a:extLst>
              </a:tr>
              <a:tr h="177384">
                <a:tc vMerge="1">
                  <a:txBody>
                    <a:bodyPr/>
                    <a:lstStyle/>
                    <a:p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Шифр идентификатор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100" kern="1200" dirty="0">
                          <a:solidFill>
                            <a:srgbClr val="3C438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6</a:t>
                      </a:r>
                      <a:r>
                        <a:rPr lang="ru-RU" sz="1100" kern="1200" dirty="0" smtClean="0">
                          <a:solidFill>
                            <a:srgbClr val="3C438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3.</a:t>
                      </a:r>
                      <a:r>
                        <a:rPr lang="en-US" sz="1100" kern="1200" dirty="0">
                          <a:solidFill>
                            <a:srgbClr val="3C438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I1</a:t>
                      </a:r>
                      <a:endParaRPr lang="ru-RU" sz="1100" kern="1200" dirty="0">
                        <a:solidFill>
                          <a:srgbClr val="3C4388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003250230"/>
                  </a:ext>
                </a:extLst>
              </a:tr>
              <a:tr h="165767">
                <a:tc vMerge="1">
                  <a:txBody>
                    <a:bodyPr/>
                    <a:lstStyle/>
                    <a:p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ИЗ тела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мбинезон </a:t>
                      </a:r>
                      <a:endParaRPr lang="ru-RU" sz="11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84567706"/>
                  </a:ext>
                </a:extLst>
              </a:tr>
              <a:tr h="177384">
                <a:tc vMerge="1">
                  <a:txBody>
                    <a:bodyPr/>
                    <a:lstStyle/>
                    <a:p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Нормы выдачи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100" kern="1200" dirty="0">
                          <a:solidFill>
                            <a:srgbClr val="3C438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изделие</a:t>
                      </a:r>
                      <a:endParaRPr lang="ru-RU" sz="1100" kern="1200" dirty="0">
                        <a:solidFill>
                          <a:srgbClr val="3C4388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20769006"/>
                  </a:ext>
                </a:extLst>
              </a:tr>
              <a:tr h="177384">
                <a:tc vMerge="1">
                  <a:txBody>
                    <a:bodyPr/>
                    <a:lstStyle/>
                    <a:p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Сроки носки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200" dirty="0">
                          <a:solidFill>
                            <a:srgbClr val="3C438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 износа </a:t>
                      </a: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38534099"/>
                  </a:ext>
                </a:extLst>
              </a:tr>
              <a:tr h="177384">
                <a:tc vMerge="1">
                  <a:txBody>
                    <a:bodyPr/>
                    <a:lstStyle/>
                    <a:p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Шифр идентификатор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100" kern="1200" dirty="0">
                          <a:solidFill>
                            <a:srgbClr val="3C438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6</a:t>
                      </a:r>
                      <a:r>
                        <a:rPr lang="ru-RU" sz="1100" kern="1200" dirty="0" smtClean="0">
                          <a:solidFill>
                            <a:srgbClr val="3C438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3.</a:t>
                      </a:r>
                      <a:r>
                        <a:rPr lang="en-US" sz="1100" kern="1200" dirty="0" smtClean="0">
                          <a:solidFill>
                            <a:srgbClr val="3C438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I2</a:t>
                      </a:r>
                      <a:endParaRPr lang="ru-RU" sz="1100" kern="1200" dirty="0">
                        <a:solidFill>
                          <a:srgbClr val="3C4388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940697107"/>
                  </a:ext>
                </a:extLst>
              </a:tr>
              <a:tr h="177384">
                <a:tc vMerge="1">
                  <a:txBody>
                    <a:bodyPr/>
                    <a:lstStyle/>
                    <a:p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1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ИЗ рук</a:t>
                      </a: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100" b="1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Перчатки кругловязанные </a:t>
                      </a:r>
                      <a:endParaRPr lang="ru-RU" sz="11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974896140"/>
                  </a:ext>
                </a:extLst>
              </a:tr>
              <a:tr h="177384">
                <a:tc vMerge="1">
                  <a:txBody>
                    <a:bodyPr/>
                    <a:lstStyle/>
                    <a:p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200" dirty="0">
                          <a:solidFill>
                            <a:srgbClr val="3C438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Нормы выдачи</a:t>
                      </a: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100" kern="1200" dirty="0">
                          <a:solidFill>
                            <a:srgbClr val="3C438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 изделие</a:t>
                      </a:r>
                      <a:endParaRPr lang="ru-RU" sz="1100" kern="12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860864409"/>
                  </a:ext>
                </a:extLst>
              </a:tr>
              <a:tr h="177384">
                <a:tc vMerge="1">
                  <a:txBody>
                    <a:bodyPr/>
                    <a:lstStyle/>
                    <a:p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200" dirty="0">
                          <a:solidFill>
                            <a:srgbClr val="3C438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роки носки</a:t>
                      </a: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100" kern="1200" dirty="0">
                          <a:solidFill>
                            <a:srgbClr val="3C438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Д</a:t>
                      </a:r>
                      <a:r>
                        <a:rPr lang="ru-RU" sz="1100" kern="1200" dirty="0">
                          <a:solidFill>
                            <a:srgbClr val="3C438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о износа </a:t>
                      </a: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288596998"/>
                  </a:ext>
                </a:extLst>
              </a:tr>
              <a:tr h="177384">
                <a:tc vMerge="1">
                  <a:txBody>
                    <a:bodyPr/>
                    <a:lstStyle/>
                    <a:p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200" dirty="0">
                          <a:solidFill>
                            <a:srgbClr val="3C438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Шифр идентификатор</a:t>
                      </a: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100" kern="1200" dirty="0">
                          <a:solidFill>
                            <a:srgbClr val="3C438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6</a:t>
                      </a:r>
                      <a:r>
                        <a:rPr lang="ru-RU" sz="1100" kern="1200" dirty="0" smtClean="0">
                          <a:solidFill>
                            <a:srgbClr val="3C438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.3.</a:t>
                      </a:r>
                      <a:r>
                        <a:rPr lang="en-US" sz="1100" kern="1200" dirty="0" smtClean="0">
                          <a:solidFill>
                            <a:srgbClr val="3C438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II4</a:t>
                      </a:r>
                      <a:endParaRPr lang="ru-RU" sz="1100" kern="12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92455526"/>
                  </a:ext>
                </a:extLst>
              </a:tr>
            </a:tbl>
          </a:graphicData>
        </a:graphic>
      </p:graphicFrame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0479393"/>
              </p:ext>
            </p:extLst>
          </p:nvPr>
        </p:nvGraphicFramePr>
        <p:xfrm>
          <a:off x="156187" y="4149913"/>
          <a:ext cx="5728797" cy="264008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26110">
                  <a:extLst>
                    <a:ext uri="{9D8B030D-6E8A-4147-A177-3AD203B41FA5}">
                      <a16:colId xmlns="" xmlns:a16="http://schemas.microsoft.com/office/drawing/2014/main" val="4270255422"/>
                    </a:ext>
                  </a:extLst>
                </a:gridCol>
                <a:gridCol w="1585552">
                  <a:extLst>
                    <a:ext uri="{9D8B030D-6E8A-4147-A177-3AD203B41FA5}">
                      <a16:colId xmlns="" xmlns:a16="http://schemas.microsoft.com/office/drawing/2014/main" val="2823003091"/>
                    </a:ext>
                  </a:extLst>
                </a:gridCol>
                <a:gridCol w="2417135">
                  <a:extLst>
                    <a:ext uri="{9D8B030D-6E8A-4147-A177-3AD203B41FA5}">
                      <a16:colId xmlns="" xmlns:a16="http://schemas.microsoft.com/office/drawing/2014/main" val="2530809151"/>
                    </a:ext>
                  </a:extLst>
                </a:gridCol>
              </a:tblGrid>
              <a:tr h="372727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effectLst/>
                        </a:rPr>
                        <a:t>Код фактора*</a:t>
                      </a:r>
                      <a:endParaRPr lang="ru-RU" sz="1400" dirty="0">
                        <a:effectLst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 Нормы </a:t>
                      </a:r>
                      <a:r>
                        <a:rPr lang="ru-RU" sz="1400" dirty="0">
                          <a:effectLst/>
                        </a:rPr>
                        <a:t>выдачи средств индивидуальной защиты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114513095"/>
                  </a:ext>
                </a:extLst>
              </a:tr>
              <a:tr h="197374"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rgbClr val="3C4388"/>
                          </a:solidFill>
                          <a:effectLst/>
                        </a:rPr>
                        <a:t>01 ПРОИЗВОДСТВЕННЫЕ ФАКТОРЫ ФИЗИЧЕСКОЙ ПРИРОДЫ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629304124"/>
                  </a:ext>
                </a:extLst>
              </a:tr>
              <a:tr h="197374"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rgbClr val="3C4388"/>
                          </a:solidFill>
                          <a:effectLst/>
                          <a:latin typeface="Calibri" panose="020F0502020204030204" pitchFamily="34" charset="0"/>
                        </a:rPr>
                        <a:t>01.5 Воздействие электрического тока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163323325"/>
                  </a:ext>
                </a:extLst>
              </a:tr>
              <a:tr h="211206">
                <a:tc rowSpan="8">
                  <a:txBody>
                    <a:bodyPr/>
                    <a:lstStyle/>
                    <a:p>
                      <a:r>
                        <a:rPr lang="ru-RU" sz="1100" dirty="0" smtClean="0">
                          <a:solidFill>
                            <a:srgbClr val="3C4388"/>
                          </a:solidFill>
                          <a:effectLst/>
                          <a:latin typeface="Calibri" panose="020F0502020204030204" pitchFamily="34" charset="0"/>
                        </a:rPr>
                        <a:t>01.5.1</a:t>
                      </a:r>
                      <a:r>
                        <a:rPr lang="ru-RU" sz="1100" baseline="0" dirty="0" smtClean="0">
                          <a:solidFill>
                            <a:srgbClr val="3C4388"/>
                          </a:solidFill>
                          <a:effectLst/>
                          <a:latin typeface="Calibri" panose="020F0502020204030204" pitchFamily="34" charset="0"/>
                        </a:rPr>
                        <a:t> Поражение электрическим током от оборудования, механизмов, машин, инструментов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ИЗ рук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чатки диэлектрические </a:t>
                      </a:r>
                      <a:endParaRPr lang="ru-RU" sz="11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963475381"/>
                  </a:ext>
                </a:extLst>
              </a:tr>
              <a:tr h="211206">
                <a:tc vMerge="1">
                  <a:txBody>
                    <a:bodyPr/>
                    <a:lstStyle/>
                    <a:p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Нормы выдачи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200" dirty="0">
                          <a:solidFill>
                            <a:srgbClr val="3C438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изделие</a:t>
                      </a: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01713323"/>
                  </a:ext>
                </a:extLst>
              </a:tr>
              <a:tr h="211206">
                <a:tc vMerge="1">
                  <a:txBody>
                    <a:bodyPr/>
                    <a:lstStyle/>
                    <a:p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Сроки носки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200" dirty="0" smtClean="0">
                          <a:solidFill>
                            <a:srgbClr val="3C438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1 год</a:t>
                      </a:r>
                      <a:endParaRPr lang="ru-RU" sz="1100" kern="1200" dirty="0">
                        <a:solidFill>
                          <a:srgbClr val="3C4388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201585482"/>
                  </a:ext>
                </a:extLst>
              </a:tr>
              <a:tr h="278404">
                <a:tc vMerge="1">
                  <a:txBody>
                    <a:bodyPr/>
                    <a:lstStyle/>
                    <a:p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Шифр идентификатор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100" kern="1200" dirty="0" smtClean="0">
                          <a:solidFill>
                            <a:srgbClr val="3C438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1</a:t>
                      </a:r>
                      <a:r>
                        <a:rPr lang="ru-RU" sz="1100" kern="1200" dirty="0" smtClean="0">
                          <a:solidFill>
                            <a:srgbClr val="3C438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5.1.</a:t>
                      </a:r>
                      <a:r>
                        <a:rPr lang="en-US" sz="1100" kern="1200" dirty="0" smtClean="0">
                          <a:solidFill>
                            <a:srgbClr val="3C438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II.1</a:t>
                      </a:r>
                      <a:endParaRPr lang="ru-RU" sz="1100" kern="1200" dirty="0">
                        <a:solidFill>
                          <a:srgbClr val="3C4388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003250230"/>
                  </a:ext>
                </a:extLst>
              </a:tr>
              <a:tr h="197374">
                <a:tc vMerge="1">
                  <a:txBody>
                    <a:bodyPr/>
                    <a:lstStyle/>
                    <a:p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ИЗ ног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бувь специальная диэлектрическая</a:t>
                      </a:r>
                      <a:endParaRPr lang="ru-RU" sz="11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84567706"/>
                  </a:ext>
                </a:extLst>
              </a:tr>
              <a:tr h="211206">
                <a:tc vMerge="1">
                  <a:txBody>
                    <a:bodyPr/>
                    <a:lstStyle/>
                    <a:p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Нормы выдачи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100" kern="1200" dirty="0">
                          <a:solidFill>
                            <a:srgbClr val="3C438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изделие</a:t>
                      </a:r>
                      <a:endParaRPr lang="ru-RU" sz="1100" kern="1200" dirty="0">
                        <a:solidFill>
                          <a:srgbClr val="3C4388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20769006"/>
                  </a:ext>
                </a:extLst>
              </a:tr>
              <a:tr h="211206">
                <a:tc vMerge="1">
                  <a:txBody>
                    <a:bodyPr/>
                    <a:lstStyle/>
                    <a:p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Сроки носки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kern="1200" dirty="0">
                          <a:solidFill>
                            <a:srgbClr val="3C438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 износа </a:t>
                      </a: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38534099"/>
                  </a:ext>
                </a:extLst>
              </a:tr>
              <a:tr h="340803">
                <a:tc vMerge="1">
                  <a:txBody>
                    <a:bodyPr/>
                    <a:lstStyle/>
                    <a:p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3C4388"/>
                          </a:solidFill>
                          <a:effectLst/>
                        </a:rPr>
                        <a:t>Шифр идентификатор</a:t>
                      </a:r>
                      <a:endParaRPr lang="ru-RU" sz="1100" dirty="0">
                        <a:solidFill>
                          <a:srgbClr val="3C438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100" kern="1200" dirty="0" smtClean="0">
                          <a:solidFill>
                            <a:srgbClr val="3C438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1</a:t>
                      </a:r>
                      <a:r>
                        <a:rPr lang="ru-RU" sz="1100" kern="1200" dirty="0" smtClean="0">
                          <a:solidFill>
                            <a:srgbClr val="3C438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5.1.</a:t>
                      </a:r>
                      <a:r>
                        <a:rPr lang="en-US" sz="1100" kern="1200" dirty="0" smtClean="0">
                          <a:solidFill>
                            <a:srgbClr val="3C438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V.2</a:t>
                      </a:r>
                      <a:endParaRPr lang="ru-RU" sz="1100" kern="1200" dirty="0">
                        <a:solidFill>
                          <a:srgbClr val="3C4388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1765" marR="4176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9406971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3484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плый синий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Тема Office">
  <a:themeElements>
    <a:clrScheme name="Теплый синий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11</TotalTime>
  <Words>2674</Words>
  <Application>Microsoft Office PowerPoint</Application>
  <PresentationFormat>Широкоэкранный</PresentationFormat>
  <Paragraphs>520</Paragraphs>
  <Slides>15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33" baseType="lpstr">
      <vt:lpstr>Arial</vt:lpstr>
      <vt:lpstr>Arial Narrow</vt:lpstr>
      <vt:lpstr>Bahnschrift</vt:lpstr>
      <vt:lpstr>Calibri</vt:lpstr>
      <vt:lpstr>Calibri Light</vt:lpstr>
      <vt:lpstr>Cambria Math</vt:lpstr>
      <vt:lpstr>Century Gothic</vt:lpstr>
      <vt:lpstr>customFont</vt:lpstr>
      <vt:lpstr>Franklin Gothic Medium</vt:lpstr>
      <vt:lpstr>Open Sans Light</vt:lpstr>
      <vt:lpstr>Segoe UI Black</vt:lpstr>
      <vt:lpstr>Segoe UI Light</vt:lpstr>
      <vt:lpstr>Times New Roman</vt:lpstr>
      <vt:lpstr>Trebuchet MS</vt:lpstr>
      <vt:lpstr>Тема Office</vt:lpstr>
      <vt:lpstr>1_Тема Office</vt:lpstr>
      <vt:lpstr>3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жумагулова</dc:creator>
  <cp:lastModifiedBy>Koibagarova Gulfairuz</cp:lastModifiedBy>
  <cp:revision>279</cp:revision>
  <cp:lastPrinted>2023-07-11T08:47:06Z</cp:lastPrinted>
  <dcterms:created xsi:type="dcterms:W3CDTF">2023-04-24T05:34:45Z</dcterms:created>
  <dcterms:modified xsi:type="dcterms:W3CDTF">2023-07-20T08:23:18Z</dcterms:modified>
</cp:coreProperties>
</file>